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908" r:id="rId1"/>
    <p:sldMasterId id="2147483933" r:id="rId2"/>
    <p:sldMasterId id="2147483952" r:id="rId3"/>
  </p:sldMasterIdLst>
  <p:notesMasterIdLst>
    <p:notesMasterId r:id="rId16"/>
  </p:notesMasterIdLst>
  <p:handoutMasterIdLst>
    <p:handoutMasterId r:id="rId17"/>
  </p:handoutMasterIdLst>
  <p:sldIdLst>
    <p:sldId id="406" r:id="rId4"/>
    <p:sldId id="422" r:id="rId5"/>
    <p:sldId id="436" r:id="rId6"/>
    <p:sldId id="435" r:id="rId7"/>
    <p:sldId id="426" r:id="rId8"/>
    <p:sldId id="438" r:id="rId9"/>
    <p:sldId id="432" r:id="rId10"/>
    <p:sldId id="425" r:id="rId11"/>
    <p:sldId id="437" r:id="rId12"/>
    <p:sldId id="441" r:id="rId13"/>
    <p:sldId id="440" r:id="rId14"/>
    <p:sldId id="439" r:id="rId15"/>
  </p:sldIdLst>
  <p:sldSz cx="10058400" cy="7772400"/>
  <p:notesSz cx="6735763" cy="9866313"/>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101" algn="l" rtl="0" fontAlgn="base">
      <a:spcBef>
        <a:spcPct val="0"/>
      </a:spcBef>
      <a:spcAft>
        <a:spcPct val="0"/>
      </a:spcAft>
      <a:defRPr sz="2000" kern="1200">
        <a:solidFill>
          <a:schemeClr val="tx1"/>
        </a:solidFill>
        <a:latin typeface="Arial" charset="0"/>
        <a:ea typeface="+mn-ea"/>
        <a:cs typeface="Arial" charset="0"/>
      </a:defRPr>
    </a:lvl2pPr>
    <a:lvl3pPr marL="914202" algn="l" rtl="0" fontAlgn="base">
      <a:spcBef>
        <a:spcPct val="0"/>
      </a:spcBef>
      <a:spcAft>
        <a:spcPct val="0"/>
      </a:spcAft>
      <a:defRPr sz="2000" kern="1200">
        <a:solidFill>
          <a:schemeClr val="tx1"/>
        </a:solidFill>
        <a:latin typeface="Arial" charset="0"/>
        <a:ea typeface="+mn-ea"/>
        <a:cs typeface="Arial" charset="0"/>
      </a:defRPr>
    </a:lvl3pPr>
    <a:lvl4pPr marL="1371304" algn="l" rtl="0" fontAlgn="base">
      <a:spcBef>
        <a:spcPct val="0"/>
      </a:spcBef>
      <a:spcAft>
        <a:spcPct val="0"/>
      </a:spcAft>
      <a:defRPr sz="2000" kern="1200">
        <a:solidFill>
          <a:schemeClr val="tx1"/>
        </a:solidFill>
        <a:latin typeface="Arial" charset="0"/>
        <a:ea typeface="+mn-ea"/>
        <a:cs typeface="Arial" charset="0"/>
      </a:defRPr>
    </a:lvl4pPr>
    <a:lvl5pPr marL="1828405" algn="l" rtl="0" fontAlgn="base">
      <a:spcBef>
        <a:spcPct val="0"/>
      </a:spcBef>
      <a:spcAft>
        <a:spcPct val="0"/>
      </a:spcAft>
      <a:defRPr sz="2000" kern="1200">
        <a:solidFill>
          <a:schemeClr val="tx1"/>
        </a:solidFill>
        <a:latin typeface="Arial" charset="0"/>
        <a:ea typeface="+mn-ea"/>
        <a:cs typeface="Arial" charset="0"/>
      </a:defRPr>
    </a:lvl5pPr>
    <a:lvl6pPr marL="2285506" algn="l" defTabSz="914202" rtl="0" eaLnBrk="1" latinLnBrk="0" hangingPunct="1">
      <a:defRPr sz="2000" kern="1200">
        <a:solidFill>
          <a:schemeClr val="tx1"/>
        </a:solidFill>
        <a:latin typeface="Arial" charset="0"/>
        <a:ea typeface="+mn-ea"/>
        <a:cs typeface="Arial" charset="0"/>
      </a:defRPr>
    </a:lvl6pPr>
    <a:lvl7pPr marL="2742607" algn="l" defTabSz="914202" rtl="0" eaLnBrk="1" latinLnBrk="0" hangingPunct="1">
      <a:defRPr sz="2000" kern="1200">
        <a:solidFill>
          <a:schemeClr val="tx1"/>
        </a:solidFill>
        <a:latin typeface="Arial" charset="0"/>
        <a:ea typeface="+mn-ea"/>
        <a:cs typeface="Arial" charset="0"/>
      </a:defRPr>
    </a:lvl7pPr>
    <a:lvl8pPr marL="3199709" algn="l" defTabSz="914202" rtl="0" eaLnBrk="1" latinLnBrk="0" hangingPunct="1">
      <a:defRPr sz="2000" kern="1200">
        <a:solidFill>
          <a:schemeClr val="tx1"/>
        </a:solidFill>
        <a:latin typeface="Arial" charset="0"/>
        <a:ea typeface="+mn-ea"/>
        <a:cs typeface="Arial" charset="0"/>
      </a:defRPr>
    </a:lvl8pPr>
    <a:lvl9pPr marL="3656810" algn="l" defTabSz="914202"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5E5E"/>
    <a:srgbClr val="00A1DE"/>
    <a:srgbClr val="81BC00"/>
    <a:srgbClr val="A4D400"/>
    <a:srgbClr val="002776"/>
    <a:srgbClr val="3C8A2E"/>
    <a:srgbClr val="C9DD03"/>
    <a:srgbClr val="72C7E7"/>
    <a:srgbClr val="7BCE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434" autoAdjust="0"/>
  </p:normalViewPr>
  <p:slideViewPr>
    <p:cSldViewPr showGuides="1">
      <p:cViewPr varScale="1">
        <p:scale>
          <a:sx n="74" d="100"/>
          <a:sy n="74" d="100"/>
        </p:scale>
        <p:origin x="1555" y="82"/>
      </p:cViewPr>
      <p:guideLst>
        <p:guide orient="horz" pos="2448"/>
        <p:guide pos="3168"/>
      </p:guideLst>
    </p:cSldViewPr>
  </p:slideViewPr>
  <p:notesTextViewPr>
    <p:cViewPr>
      <p:scale>
        <a:sx n="100" d="100"/>
        <a:sy n="100" d="100"/>
      </p:scale>
      <p:origin x="0" y="0"/>
    </p:cViewPr>
  </p:notesTextViewPr>
  <p:notesViewPr>
    <p:cSldViewPr showGuides="1">
      <p:cViewPr varScale="1">
        <p:scale>
          <a:sx n="53" d="100"/>
          <a:sy n="53" d="100"/>
        </p:scale>
        <p:origin x="294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defTabSz="622681">
              <a:defRPr sz="800"/>
            </a:lvl1pPr>
          </a:lstStyle>
          <a:p>
            <a:endParaRPr lang="en-GB"/>
          </a:p>
        </p:txBody>
      </p:sp>
      <p:sp>
        <p:nvSpPr>
          <p:cNvPr id="3" name="Date Placeholder 2"/>
          <p:cNvSpPr>
            <a:spLocks noGrp="1"/>
          </p:cNvSpPr>
          <p:nvPr>
            <p:ph type="dt" sz="quarter" idx="1"/>
          </p:nvPr>
        </p:nvSpPr>
        <p:spPr bwMode="auto">
          <a:xfrm>
            <a:off x="3816003" y="0"/>
            <a:ext cx="2918210"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algn="r" defTabSz="622681">
              <a:defRPr sz="800"/>
            </a:lvl1pPr>
          </a:lstStyle>
          <a:p>
            <a:fld id="{881FED58-90E2-475F-A916-696B8358D80D}" type="datetimeFigureOut">
              <a:rPr lang="en-US"/>
              <a:pPr/>
              <a:t>9/5/2018</a:t>
            </a:fld>
            <a:endParaRPr lang="en-GB"/>
          </a:p>
        </p:txBody>
      </p:sp>
      <p:sp>
        <p:nvSpPr>
          <p:cNvPr id="4" name="Footer Placeholder 3"/>
          <p:cNvSpPr>
            <a:spLocks noGrp="1"/>
          </p:cNvSpPr>
          <p:nvPr>
            <p:ph type="ftr" sz="quarter" idx="2"/>
          </p:nvPr>
        </p:nvSpPr>
        <p:spPr bwMode="auto">
          <a:xfrm>
            <a:off x="1" y="9371437"/>
            <a:ext cx="2919761"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defTabSz="622681">
              <a:defRPr sz="800"/>
            </a:lvl1pPr>
          </a:lstStyle>
          <a:p>
            <a:endParaRPr lang="en-GB"/>
          </a:p>
        </p:txBody>
      </p:sp>
      <p:sp>
        <p:nvSpPr>
          <p:cNvPr id="5" name="Slide Number Placeholder 4"/>
          <p:cNvSpPr>
            <a:spLocks noGrp="1"/>
          </p:cNvSpPr>
          <p:nvPr>
            <p:ph type="sldNum" sz="quarter" idx="3"/>
          </p:nvPr>
        </p:nvSpPr>
        <p:spPr bwMode="auto">
          <a:xfrm>
            <a:off x="3816003" y="9371437"/>
            <a:ext cx="2918210"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algn="r" defTabSz="622681">
              <a:defRPr sz="800"/>
            </a:lvl1pPr>
          </a:lstStyle>
          <a:p>
            <a:fld id="{33D4CFF1-DA8A-4DDA-9AC2-91167C88B304}" type="slidenum">
              <a:rPr lang="en-GB"/>
              <a:pPr/>
              <a:t>‹#›</a:t>
            </a:fld>
            <a:endParaRPr lang="en-GB"/>
          </a:p>
        </p:txBody>
      </p:sp>
    </p:spTree>
    <p:extLst>
      <p:ext uri="{BB962C8B-B14F-4D97-AF65-F5344CB8AC3E}">
        <p14:creationId xmlns:p14="http://schemas.microsoft.com/office/powerpoint/2010/main" val="2014182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defTabSz="622681">
              <a:defRPr sz="1200">
                <a:latin typeface="Calibri" pitchFamily="34" charset="0"/>
              </a:defRPr>
            </a:lvl1pPr>
          </a:lstStyle>
          <a:p>
            <a:endParaRPr lang="en-GB"/>
          </a:p>
        </p:txBody>
      </p:sp>
      <p:sp>
        <p:nvSpPr>
          <p:cNvPr id="3" name="Date Placeholder 2"/>
          <p:cNvSpPr>
            <a:spLocks noGrp="1"/>
          </p:cNvSpPr>
          <p:nvPr>
            <p:ph type="dt" idx="1"/>
          </p:nvPr>
        </p:nvSpPr>
        <p:spPr bwMode="auto">
          <a:xfrm>
            <a:off x="3816003" y="0"/>
            <a:ext cx="2918210"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algn="r" defTabSz="622681">
              <a:defRPr sz="1200">
                <a:latin typeface="Calibri" pitchFamily="34" charset="0"/>
              </a:defRPr>
            </a:lvl1pPr>
          </a:lstStyle>
          <a:p>
            <a:fld id="{926792DD-4E30-43FF-AE64-C7B14182D0A7}" type="datetimeFigureOut">
              <a:rPr lang="en-US"/>
              <a:pPr/>
              <a:t>9/5/2018</a:t>
            </a:fld>
            <a:endParaRPr lang="en-GB"/>
          </a:p>
        </p:txBody>
      </p:sp>
      <p:sp>
        <p:nvSpPr>
          <p:cNvPr id="4" name="Slide Image Placeholder 3"/>
          <p:cNvSpPr>
            <a:spLocks noGrp="1" noRot="1" noChangeAspect="1"/>
          </p:cNvSpPr>
          <p:nvPr>
            <p:ph type="sldImg" idx="2"/>
          </p:nvPr>
        </p:nvSpPr>
        <p:spPr>
          <a:xfrm>
            <a:off x="974725" y="739775"/>
            <a:ext cx="4787900" cy="3700463"/>
          </a:xfrm>
          <a:prstGeom prst="rect">
            <a:avLst/>
          </a:prstGeom>
          <a:noFill/>
          <a:ln w="12700">
            <a:solidFill>
              <a:prstClr val="black"/>
            </a:solidFill>
          </a:ln>
        </p:spPr>
        <p:txBody>
          <a:bodyPr vert="horz" lIns="136687" tIns="68344" rIns="136687" bIns="68344" rtlCol="0" anchor="ctr"/>
          <a:lstStyle/>
          <a:p>
            <a:pPr lvl="0"/>
            <a:endParaRPr lang="en-GB" noProof="0"/>
          </a:p>
        </p:txBody>
      </p:sp>
      <p:sp>
        <p:nvSpPr>
          <p:cNvPr id="5" name="Notes Placeholder 4"/>
          <p:cNvSpPr>
            <a:spLocks noGrp="1"/>
          </p:cNvSpPr>
          <p:nvPr>
            <p:ph type="body" sz="quarter" idx="3"/>
          </p:nvPr>
        </p:nvSpPr>
        <p:spPr bwMode="auto">
          <a:xfrm>
            <a:off x="672956" y="4686499"/>
            <a:ext cx="5389851" cy="4439841"/>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9371437"/>
            <a:ext cx="2919761"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defTabSz="622681">
              <a:defRPr sz="1200">
                <a:latin typeface="Calibri" pitchFamily="34" charset="0"/>
              </a:defRPr>
            </a:lvl1pPr>
          </a:lstStyle>
          <a:p>
            <a:endParaRPr lang="en-GB"/>
          </a:p>
        </p:txBody>
      </p:sp>
      <p:sp>
        <p:nvSpPr>
          <p:cNvPr id="7" name="Slide Number Placeholder 6"/>
          <p:cNvSpPr>
            <a:spLocks noGrp="1"/>
          </p:cNvSpPr>
          <p:nvPr>
            <p:ph type="sldNum" sz="quarter" idx="5"/>
          </p:nvPr>
        </p:nvSpPr>
        <p:spPr bwMode="auto">
          <a:xfrm>
            <a:off x="3816003" y="9371437"/>
            <a:ext cx="2918210"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algn="r" defTabSz="622681">
              <a:defRPr sz="1200">
                <a:latin typeface="Calibri" pitchFamily="34" charset="0"/>
              </a:defRPr>
            </a:lvl1pPr>
          </a:lstStyle>
          <a:p>
            <a:fld id="{47D2F241-0E93-4882-A868-EF6BDC7D2C10}" type="slidenum">
              <a:rPr lang="en-GB"/>
              <a:pPr/>
              <a:t>‹#›</a:t>
            </a:fld>
            <a:endParaRPr lang="en-GB"/>
          </a:p>
        </p:txBody>
      </p:sp>
    </p:spTree>
    <p:extLst>
      <p:ext uri="{BB962C8B-B14F-4D97-AF65-F5344CB8AC3E}">
        <p14:creationId xmlns:p14="http://schemas.microsoft.com/office/powerpoint/2010/main" val="4148337773"/>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790" indent="-285688" algn="l" rtl="0" eaLnBrk="0" fontAlgn="base" hangingPunct="0">
      <a:spcBef>
        <a:spcPct val="30000"/>
      </a:spcBef>
      <a:spcAft>
        <a:spcPct val="0"/>
      </a:spcAft>
      <a:defRPr sz="1200" kern="1200">
        <a:solidFill>
          <a:schemeClr val="tx1"/>
        </a:solidFill>
        <a:latin typeface="+mn-lt"/>
        <a:ea typeface="+mn-ea"/>
        <a:cs typeface="+mn-cs"/>
      </a:defRPr>
    </a:lvl2pPr>
    <a:lvl3pPr marL="1142753" indent="-228551" algn="l" rtl="0" eaLnBrk="0" fontAlgn="base" hangingPunct="0">
      <a:spcBef>
        <a:spcPct val="30000"/>
      </a:spcBef>
      <a:spcAft>
        <a:spcPct val="0"/>
      </a:spcAft>
      <a:defRPr sz="1200" kern="1200">
        <a:solidFill>
          <a:schemeClr val="tx1"/>
        </a:solidFill>
        <a:latin typeface="+mn-lt"/>
        <a:ea typeface="+mn-ea"/>
        <a:cs typeface="+mn-cs"/>
      </a:defRPr>
    </a:lvl3pPr>
    <a:lvl4pPr marL="1599854" indent="-228551" algn="l" rtl="0" eaLnBrk="0" fontAlgn="base" hangingPunct="0">
      <a:spcBef>
        <a:spcPct val="30000"/>
      </a:spcBef>
      <a:spcAft>
        <a:spcPct val="0"/>
      </a:spcAft>
      <a:defRPr sz="1200" kern="1200">
        <a:solidFill>
          <a:schemeClr val="tx1"/>
        </a:solidFill>
        <a:latin typeface="+mn-lt"/>
        <a:ea typeface="+mn-ea"/>
        <a:cs typeface="+mn-cs"/>
      </a:defRPr>
    </a:lvl4pPr>
    <a:lvl5pPr marL="2056956" indent="-228551" algn="l" rtl="0" eaLnBrk="0" fontAlgn="base" hangingPunct="0">
      <a:spcBef>
        <a:spcPct val="30000"/>
      </a:spcBef>
      <a:spcAft>
        <a:spcPct val="0"/>
      </a:spcAft>
      <a:defRPr sz="1200" kern="1200">
        <a:solidFill>
          <a:schemeClr val="tx1"/>
        </a:solidFill>
        <a:latin typeface="+mn-lt"/>
        <a:ea typeface="+mn-ea"/>
        <a:cs typeface="+mn-cs"/>
      </a:defRPr>
    </a:lvl5pPr>
    <a:lvl6pPr marL="2285506" algn="l" defTabSz="914202" rtl="0" eaLnBrk="1" latinLnBrk="0" hangingPunct="1">
      <a:defRPr sz="1200" kern="1200">
        <a:solidFill>
          <a:schemeClr val="tx1"/>
        </a:solidFill>
        <a:latin typeface="+mn-lt"/>
        <a:ea typeface="+mn-ea"/>
        <a:cs typeface="+mn-cs"/>
      </a:defRPr>
    </a:lvl6pPr>
    <a:lvl7pPr marL="2742607" algn="l" defTabSz="914202" rtl="0" eaLnBrk="1" latinLnBrk="0" hangingPunct="1">
      <a:defRPr sz="1200" kern="1200">
        <a:solidFill>
          <a:schemeClr val="tx1"/>
        </a:solidFill>
        <a:latin typeface="+mn-lt"/>
        <a:ea typeface="+mn-ea"/>
        <a:cs typeface="+mn-cs"/>
      </a:defRPr>
    </a:lvl7pPr>
    <a:lvl8pPr marL="3199709" algn="l" defTabSz="914202" rtl="0" eaLnBrk="1" latinLnBrk="0" hangingPunct="1">
      <a:defRPr sz="1200" kern="1200">
        <a:solidFill>
          <a:schemeClr val="tx1"/>
        </a:solidFill>
        <a:latin typeface="+mn-lt"/>
        <a:ea typeface="+mn-ea"/>
        <a:cs typeface="+mn-cs"/>
      </a:defRPr>
    </a:lvl8pPr>
    <a:lvl9pPr marL="3656810" algn="l" defTabSz="91420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1233149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839" y="1859565"/>
            <a:ext cx="5877670" cy="2836265"/>
          </a:xfrm>
        </p:spPr>
        <p:txBody>
          <a:bodyPr>
            <a:noAutofit/>
          </a:bodyPr>
          <a:lstStyle>
            <a:lvl1pPr>
              <a:defRPr sz="418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839" y="5024581"/>
            <a:ext cx="5877168" cy="1209548"/>
          </a:xfrm>
        </p:spPr>
        <p:txBody>
          <a:bodyPr>
            <a:normAutofit/>
          </a:bodyPr>
          <a:lstStyle>
            <a:lvl1pPr marL="0" indent="0" algn="l">
              <a:lnSpc>
                <a:spcPct val="120000"/>
              </a:lnSpc>
              <a:spcBef>
                <a:spcPts val="0"/>
              </a:spcBef>
              <a:spcAft>
                <a:spcPts val="0"/>
              </a:spcAft>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9" name="Picture 8"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1528321109"/>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4609716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427936305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98398506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1398738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809389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tx2"/>
                </a:solidFill>
              </a:defRPr>
            </a:lvl1pPr>
            <a:lvl2pPr marL="295117" indent="-295117">
              <a:spcBef>
                <a:spcPts val="660"/>
              </a:spcBef>
              <a:spcAft>
                <a:spcPts val="0"/>
              </a:spcAft>
              <a:buFont typeface="Arial" pitchFamily="34" charset="0"/>
              <a:buChar char="•"/>
              <a:tabLst/>
              <a:defRPr sz="2200" b="0">
                <a:solidFill>
                  <a:schemeClr val="tx2"/>
                </a:solidFill>
              </a:defRPr>
            </a:lvl2pPr>
            <a:lvl3pPr marL="302102" indent="-302102">
              <a:spcBef>
                <a:spcPts val="660"/>
              </a:spcBef>
              <a:spcAft>
                <a:spcPts val="0"/>
              </a:spcAft>
              <a:buFont typeface="Arial" pitchFamily="34" charset="0"/>
              <a:buChar char="•"/>
              <a:defRPr sz="2200" b="0">
                <a:solidFill>
                  <a:schemeClr val="tx2"/>
                </a:solidFill>
              </a:defRPr>
            </a:lvl3pPr>
            <a:lvl4pPr>
              <a:spcBef>
                <a:spcPts val="660"/>
              </a:spcBef>
              <a:spcAft>
                <a:spcPts val="0"/>
              </a:spcAft>
              <a:buFont typeface="Arial" pitchFamily="34" charset="0"/>
              <a:buChar char="•"/>
              <a:defRPr sz="2200" b="0">
                <a:solidFill>
                  <a:schemeClr val="tx2"/>
                </a:solidFill>
              </a:defRPr>
            </a:lvl4pPr>
            <a:lvl5pPr marL="485458" indent="-193834">
              <a:spcBef>
                <a:spcPts val="660"/>
              </a:spcBef>
              <a:spcAft>
                <a:spcPts val="0"/>
              </a:spcAft>
              <a:buFont typeface="Arial" pitchFamily="34" charset="0"/>
              <a:buChar char="•"/>
              <a:defRPr sz="22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13169134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29544541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6538472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9166799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00802230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3410" y="1743390"/>
            <a:ext cx="9256844" cy="4814592"/>
          </a:xfrm>
        </p:spPr>
        <p:txBody>
          <a:bodyPr anchor="t">
            <a:noAutofit/>
          </a:bodyPr>
          <a:lstStyle>
            <a:lvl1pPr algn="l">
              <a:defRPr sz="528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35185729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413177" y="1910311"/>
            <a:ext cx="3049200" cy="3028409"/>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8" name="Picture 7"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57307898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title"/>
          </p:nvPr>
        </p:nvSpPr>
        <p:spPr>
          <a:xfrm>
            <a:off x="403411" y="1894521"/>
            <a:ext cx="3054154" cy="4814592"/>
          </a:xfrm>
        </p:spPr>
        <p:txBody>
          <a:bodyPr anchor="t">
            <a:noAutofit/>
          </a:bodyPr>
          <a:lstStyle>
            <a:lvl1pPr algn="l">
              <a:defRPr sz="396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8165068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4" name="Picture 3" descr="DEL_PRI_RGB.gif"/>
          <p:cNvPicPr>
            <a:picLocks noChangeAspect="1"/>
          </p:cNvPicPr>
          <p:nvPr/>
        </p:nvPicPr>
        <p:blipFill>
          <a:blip r:embed="rId2" cstate="print"/>
          <a:stretch>
            <a:fillRect/>
          </a:stretch>
        </p:blipFill>
        <p:spPr>
          <a:xfrm>
            <a:off x="362595" y="4356643"/>
            <a:ext cx="1892880" cy="365535"/>
          </a:xfrm>
          <a:prstGeom prst="rect">
            <a:avLst/>
          </a:prstGeom>
        </p:spPr>
      </p:pic>
    </p:spTree>
    <p:extLst>
      <p:ext uri="{BB962C8B-B14F-4D97-AF65-F5344CB8AC3E}">
        <p14:creationId xmlns:p14="http://schemas.microsoft.com/office/powerpoint/2010/main" val="161482328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60655" cy="179917"/>
        </p:xfrm>
        <a:graphic>
          <a:graphicData uri="http://schemas.openxmlformats.org/presentationml/2006/ole">
            <mc:AlternateContent xmlns:mc="http://schemas.openxmlformats.org/markup-compatibility/2006">
              <mc:Choice xmlns:v="urn:schemas-microsoft-com:vml" Requires="v">
                <p:oleObj spid="_x0000_s5499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5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3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8769196" y="7306056"/>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10" name="Footer Placeholder 4"/>
          <p:cNvSpPr>
            <a:spLocks noGrp="1"/>
          </p:cNvSpPr>
          <p:nvPr>
            <p:ph type="ftr" sz="quarter" idx="3"/>
          </p:nvPr>
        </p:nvSpPr>
        <p:spPr>
          <a:xfrm>
            <a:off x="407125" y="7306056"/>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7042546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3" name="Rectangle 2"/>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rgbClr val="3C8A2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rgbClr val="C9DD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59944" y="3457665"/>
            <a:ext cx="9264774" cy="714229"/>
          </a:xfrm>
        </p:spPr>
        <p:txBody>
          <a:bodyPr/>
          <a:lstStyle>
            <a:lvl1pPr>
              <a:defRPr sz="2800"/>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rgbClr val="002776"/>
                </a:solidFill>
              </a:rPr>
              <a:t>© </a:t>
            </a:r>
            <a:r>
              <a:rPr lang="en-US" sz="900" dirty="0" smtClean="0">
                <a:solidFill>
                  <a:srgbClr val="002776"/>
                </a:solidFill>
              </a:rPr>
              <a:t>20</a:t>
            </a:r>
            <a:r>
              <a:rPr lang="pl-PL" sz="900" dirty="0" smtClean="0">
                <a:solidFill>
                  <a:srgbClr val="002776"/>
                </a:solidFill>
              </a:rPr>
              <a:t>12</a:t>
            </a:r>
            <a:r>
              <a:rPr lang="en-US" sz="900" dirty="0" smtClean="0">
                <a:solidFill>
                  <a:srgbClr val="002776"/>
                </a:solidFill>
              </a:rPr>
              <a:t> </a:t>
            </a:r>
            <a:r>
              <a:rPr lang="en-US" sz="900" dirty="0">
                <a:solidFill>
                  <a:srgbClr val="002776"/>
                </a:solidFill>
              </a:rPr>
              <a:t>Deloitte </a:t>
            </a:r>
            <a:r>
              <a:rPr lang="cs-CZ" sz="900" dirty="0" smtClean="0">
                <a:solidFill>
                  <a:srgbClr val="002776"/>
                </a:solidFill>
              </a:rPr>
              <a:t>Polska</a:t>
            </a:r>
            <a:endParaRPr lang="en-US" sz="900" dirty="0">
              <a:solidFill>
                <a:srgbClr val="002776"/>
              </a:solidFill>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8662274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2" name="Title 1"/>
          <p:cNvSpPr>
            <a:spLocks noGrp="1"/>
          </p:cNvSpPr>
          <p:nvPr>
            <p:ph type="ctrTitle"/>
          </p:nvPr>
        </p:nvSpPr>
        <p:spPr>
          <a:xfrm>
            <a:off x="394653" y="3400422"/>
            <a:ext cx="6336000" cy="415088"/>
          </a:xfrm>
        </p:spPr>
        <p:txBody>
          <a:bodyPr wrap="square" lIns="0" tIns="0" rIns="0" bIns="0" anchor="b" anchorCtr="0">
            <a:spAutoFit/>
          </a:bodyPr>
          <a:lstStyle>
            <a:lvl1pPr algn="l">
              <a:lnSpc>
                <a:spcPct val="85000"/>
              </a:lnSpc>
              <a:defRPr sz="308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6" name="AutoShape 21"/>
          <p:cNvSpPr>
            <a:spLocks/>
          </p:cNvSpPr>
          <p:nvPr userDrawn="1"/>
        </p:nvSpPr>
        <p:spPr bwMode="gray">
          <a:xfrm>
            <a:off x="10216800" y="0"/>
            <a:ext cx="2764931" cy="2132892"/>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Any use of client names, descriptions of client engagements, and any other direct or indirect references to clients or engagements in Business Communications should be in accordance with the policy on client confidentiality of the Deloitte U.S. Entities. </a:t>
            </a:r>
            <a:br>
              <a:rPr lang="en-US" sz="770" dirty="0">
                <a:solidFill>
                  <a:srgbClr val="FFFFFF"/>
                </a:solidFill>
                <a:latin typeface="Arial"/>
                <a:cs typeface="Arial" pitchFamily="34" charset="0"/>
              </a:rPr>
            </a:br>
            <a:r>
              <a:rPr lang="en-US" sz="770" dirty="0">
                <a:solidFill>
                  <a:srgbClr val="FFFFFF"/>
                </a:solidFill>
                <a:latin typeface="Arial"/>
                <a:cs typeface="Arial" pitchFamily="34" charset="0"/>
              </a:rPr>
              <a:t>(See Section 10240, Confidentiality of Client Information.) http://dtpolicy/DPM%2010240.pdf</a:t>
            </a:r>
          </a:p>
          <a:p>
            <a:pPr fontAlgn="auto">
              <a:spcBef>
                <a:spcPct val="100000"/>
              </a:spcBef>
              <a:spcAft>
                <a:spcPts val="0"/>
              </a:spcAft>
            </a:pPr>
            <a:r>
              <a:rPr lang="en-US" sz="770" dirty="0">
                <a:solidFill>
                  <a:srgbClr val="FFFFFF"/>
                </a:solidFill>
                <a:latin typeface="Arial"/>
                <a:cs typeface="Arial" pitchFamily="34" charset="0"/>
              </a:rPr>
              <a:t>The use of </a:t>
            </a:r>
            <a:r>
              <a:rPr lang="en-US" sz="770" dirty="0" smtClean="0">
                <a:solidFill>
                  <a:srgbClr val="FFFFFF"/>
                </a:solidFill>
                <a:latin typeface="Arial"/>
                <a:cs typeface="Arial" pitchFamily="34" charset="0"/>
              </a:rPr>
              <a:t>clients’ </a:t>
            </a:r>
            <a:r>
              <a:rPr lang="en-US" sz="770" dirty="0">
                <a:solidFill>
                  <a:srgbClr val="FFFFFF"/>
                </a:solidFill>
                <a:latin typeface="Arial"/>
                <a:cs typeface="Arial" pitchFamily="34" charset="0"/>
              </a:rPr>
              <a:t>intellectual property, including trademarks, registered names, logos, music, etc., should be used in Business Communications in accordance with Administrative Policy Release 116, Copyright and Other Intellectual Property Rights — Infringement Issues. Policy Release 116: https://www.deloittenet.com/AboutDeloitte/Firm_Policies_Func_KM/Admin_Policy/100_General_Policies/Apr116CopyrightInfringementapprovedJune2002.htm</a:t>
            </a:r>
          </a:p>
          <a:p>
            <a:pPr fontAlgn="auto">
              <a:spcBef>
                <a:spcPct val="100000"/>
              </a:spcBef>
              <a:spcAft>
                <a:spcPts val="0"/>
              </a:spcAft>
            </a:pPr>
            <a:r>
              <a:rPr lang="en-US" sz="770" dirty="0">
                <a:solidFill>
                  <a:srgbClr val="FFFFFF"/>
                </a:solidFill>
                <a:latin typeface="Arial"/>
                <a:cs typeface="Arial" pitchFamily="34" charset="0"/>
              </a:rPr>
              <a:t>DPM 10640: http://dtpolicy/DPM%2010640.pdf </a:t>
            </a:r>
          </a:p>
        </p:txBody>
      </p:sp>
      <p:sp>
        <p:nvSpPr>
          <p:cNvPr id="10" name="Subtitle"/>
          <p:cNvSpPr>
            <a:spLocks noGrp="1"/>
          </p:cNvSpPr>
          <p:nvPr>
            <p:ph type="body" sz="quarter" idx="10" hasCustomPrompt="1"/>
          </p:nvPr>
        </p:nvSpPr>
        <p:spPr>
          <a:xfrm>
            <a:off x="394653" y="3886200"/>
            <a:ext cx="6336000" cy="415088"/>
          </a:xfrm>
        </p:spPr>
        <p:txBody>
          <a:bodyPr wrap="square">
            <a:spAutoFit/>
          </a:bodyPr>
          <a:lstStyle>
            <a:lvl1pPr>
              <a:lnSpc>
                <a:spcPct val="85000"/>
              </a:lnSpc>
              <a:spcBef>
                <a:spcPts val="0"/>
              </a:spcBef>
              <a:defRPr sz="3080">
                <a:solidFill>
                  <a:schemeClr val="accent2"/>
                </a:solidFill>
                <a:latin typeface="Times New Roman" pitchFamily="18" charset="0"/>
                <a:cs typeface="Times New Roman" pitchFamily="18" charset="0"/>
              </a:defRPr>
            </a:lvl1pPr>
          </a:lstStyle>
          <a:p>
            <a:pPr lvl="0"/>
            <a:r>
              <a:rPr lang="en-US" dirty="0" smtClean="0"/>
              <a:t>Click to add subtitle</a:t>
            </a:r>
          </a:p>
        </p:txBody>
      </p:sp>
      <p:sp>
        <p:nvSpPr>
          <p:cNvPr id="11" name="Subtitle 2"/>
          <p:cNvSpPr>
            <a:spLocks noGrp="1"/>
          </p:cNvSpPr>
          <p:nvPr>
            <p:ph type="subTitle" idx="1" hasCustomPrompt="1"/>
          </p:nvPr>
        </p:nvSpPr>
        <p:spPr>
          <a:xfrm>
            <a:off x="396000" y="6845189"/>
            <a:ext cx="4830527" cy="304699"/>
          </a:xfrm>
        </p:spPr>
        <p:txBody>
          <a:bodyPr wrap="square" lIns="0" tIns="0" rIns="0" bIns="0" anchor="b" anchorCtr="0">
            <a:spAutoFit/>
          </a:bodyPr>
          <a:lstStyle>
            <a:lvl1pPr marL="0" indent="0" algn="l">
              <a:buNone/>
              <a:defRPr sz="1980" b="0">
                <a:solidFill>
                  <a:schemeClr val="tx2"/>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noProof="0" dirty="0" smtClean="0"/>
              <a:t>Click to add text</a:t>
            </a:r>
            <a:endParaRPr lang="en-US" noProof="0" dirty="0"/>
          </a:p>
        </p:txBody>
      </p:sp>
      <p:sp>
        <p:nvSpPr>
          <p:cNvPr id="8" name="AutoShape 4"/>
          <p:cNvSpPr>
            <a:spLocks/>
          </p:cNvSpPr>
          <p:nvPr userDrawn="1"/>
        </p:nvSpPr>
        <p:spPr bwMode="gray">
          <a:xfrm>
            <a:off x="10216800" y="6441954"/>
            <a:ext cx="2329529" cy="1303434"/>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If you use “Deloitte” in a document, you must include the appropriate footnote defining what “Deloitte” means in the context of the document. Please note that a definition footnote is needed on the page that includes the first mention or use of the word “Deloitte.” Delete footnote from this page if not needed and this box and arrow.</a:t>
            </a:r>
          </a:p>
          <a:p>
            <a:pPr fontAlgn="auto">
              <a:spcBef>
                <a:spcPct val="100000"/>
              </a:spcBef>
              <a:spcAft>
                <a:spcPts val="0"/>
              </a:spcAft>
            </a:pPr>
            <a:r>
              <a:rPr lang="en-US" sz="770" dirty="0">
                <a:solidFill>
                  <a:srgbClr val="FFFFFF"/>
                </a:solidFill>
                <a:latin typeface="Arial"/>
                <a:cs typeface="Arial" pitchFamily="34" charset="0"/>
              </a:rPr>
              <a:t>See About Deloitte &gt; The Deloitte Brand &gt; U.S. Brand &amp; Reputation &gt; Guidance on using the “Deloitte” masterbrand.</a:t>
            </a:r>
          </a:p>
        </p:txBody>
      </p:sp>
    </p:spTree>
    <p:extLst>
      <p:ext uri="{BB962C8B-B14F-4D97-AF65-F5344CB8AC3E}">
        <p14:creationId xmlns:p14="http://schemas.microsoft.com/office/powerpoint/2010/main" val="39918866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7" name="Subtitle0"/>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3" name="Straight Arrow Connector 1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24" name="TextBox 23"/>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5" name="TextBox 24"/>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6" name="TextBox 25"/>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7" name="TextBox 26"/>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8" name="TextBox 27"/>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9" name="TextBox 28"/>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0" name="TextBox 29"/>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1" name="Straight Arrow Connector 30"/>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
        <p:nvSpPr>
          <p:cNvPr id="36" name="Content Placeholder 2"/>
          <p:cNvSpPr>
            <a:spLocks noGrp="1"/>
          </p:cNvSpPr>
          <p:nvPr>
            <p:ph idx="14"/>
          </p:nvPr>
        </p:nvSpPr>
        <p:spPr>
          <a:xfrm>
            <a:off x="397348" y="1437536"/>
            <a:ext cx="9266400" cy="5712352"/>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Tree>
    <p:extLst>
      <p:ext uri="{BB962C8B-B14F-4D97-AF65-F5344CB8AC3E}">
        <p14:creationId xmlns:p14="http://schemas.microsoft.com/office/powerpoint/2010/main" val="3775186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p:nvSpPr>
        <p:spPr>
          <a:xfrm>
            <a:off x="380183" y="0"/>
            <a:ext cx="5984908" cy="356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684022" y="1239093"/>
            <a:ext cx="5366742" cy="1756514"/>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84022" y="3023876"/>
            <a:ext cx="5366742" cy="439944"/>
          </a:xfrm>
        </p:spPr>
        <p:txBody>
          <a:bodyPr>
            <a:normAutofit/>
          </a:bodyPr>
          <a:lstStyle>
            <a:lvl1pPr marL="0" indent="0" algn="l">
              <a:spcBef>
                <a:spcPts val="0"/>
              </a:spcBef>
              <a:buNone/>
              <a:defRPr sz="176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p:nvPicPr>
        <p:blipFill>
          <a:blip r:embed="rId2" cstate="print"/>
          <a:stretch>
            <a:fillRect/>
          </a:stretch>
        </p:blipFill>
        <p:spPr>
          <a:xfrm>
            <a:off x="637668" y="322459"/>
            <a:ext cx="1892880" cy="365535"/>
          </a:xfrm>
          <a:prstGeom prst="rect">
            <a:avLst/>
          </a:prstGeom>
        </p:spPr>
      </p:pic>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4698232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5" name="Subtitle1"/>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7" name="Straight Arrow Connector 16"/>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7" name="TextBox 26"/>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8" name="TextBox 27"/>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9" name="TextBox 28"/>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30" name="TextBox 29"/>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2" name="TextBox 31"/>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3" name="TextBox 32"/>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4" name="Straight Arrow Connector 33"/>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
          </p:nvPr>
        </p:nvSpPr>
        <p:spPr>
          <a:xfrm>
            <a:off x="394652"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4"/>
          </p:nvPr>
        </p:nvSpPr>
        <p:spPr>
          <a:xfrm>
            <a:off x="5226526"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40"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598260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6" name="Subtitle2"/>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8" name="Straight Arrow Connector 17"/>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5" name="TextBox 24"/>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6" name="TextBox 25"/>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7" name="TextBox 26"/>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8" name="TextBox 27"/>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2" name="Straight Arrow Connector 31"/>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5"/>
          </p:nvPr>
        </p:nvSpPr>
        <p:spPr>
          <a:xfrm>
            <a:off x="394653"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6"/>
          </p:nvPr>
        </p:nvSpPr>
        <p:spPr>
          <a:xfrm>
            <a:off x="3550140"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0" name="Content Placeholder 2"/>
          <p:cNvSpPr>
            <a:spLocks noGrp="1"/>
          </p:cNvSpPr>
          <p:nvPr>
            <p:ph idx="17"/>
          </p:nvPr>
        </p:nvSpPr>
        <p:spPr>
          <a:xfrm>
            <a:off x="6705627"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2436847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3"/>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3" y="1437535"/>
            <a:ext cx="9269095"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3" y="1943088"/>
            <a:ext cx="9269095"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38"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9"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17369564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4"/>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2" y="1437535"/>
            <a:ext cx="4437222"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2"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9" name="Text Placeholder 11"/>
          <p:cNvSpPr>
            <a:spLocks noGrp="1"/>
          </p:cNvSpPr>
          <p:nvPr>
            <p:ph type="body" sz="quarter" idx="21"/>
          </p:nvPr>
        </p:nvSpPr>
        <p:spPr bwMode="gray">
          <a:xfrm>
            <a:off x="5226528" y="1437535"/>
            <a:ext cx="4437220"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3" name="Content Placeholder 2"/>
          <p:cNvSpPr>
            <a:spLocks noGrp="1"/>
          </p:cNvSpPr>
          <p:nvPr>
            <p:ph idx="22"/>
          </p:nvPr>
        </p:nvSpPr>
        <p:spPr>
          <a:xfrm>
            <a:off x="5226526"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4" name="TextBox 33"/>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8" name="TextBox 3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cxnSp>
        <p:nvCxnSpPr>
          <p:cNvPr id="39" name="Straight Arrow Connector 3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41" name="Text Placeholder 13"/>
          <p:cNvSpPr>
            <a:spLocks noGrp="1"/>
          </p:cNvSpPr>
          <p:nvPr>
            <p:ph type="body" sz="quarter" idx="23"/>
          </p:nvPr>
        </p:nvSpPr>
        <p:spPr bwMode="gray">
          <a:xfrm>
            <a:off x="5226527" y="7010363"/>
            <a:ext cx="4437221" cy="139526"/>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44"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498107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cxnSp>
        <p:nvCxnSpPr>
          <p:cNvPr id="11" name="Straight Arrow Connector 10"/>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cxnSp>
        <p:nvCxnSpPr>
          <p:cNvPr id="17" name="Straight Arrow Connector 16"/>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4" name="TextBox 2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5" name="TextBox 2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6" name="TextBox 2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7" name="TextBox 26"/>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8" name="TextBox 2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29" name="TextBox 2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0" name="Straight Arrow Connector 2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Subtitle5"/>
          <p:cNvSpPr>
            <a:spLocks noGrp="1"/>
          </p:cNvSpPr>
          <p:nvPr>
            <p:ph type="body" idx="17"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40"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1"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9581211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 white with logo">
    <p:spTree>
      <p:nvGrpSpPr>
        <p:cNvPr id="1" name=""/>
        <p:cNvGrpSpPr/>
        <p:nvPr/>
      </p:nvGrpSpPr>
      <p:grpSpPr>
        <a:xfrm>
          <a:off x="0" y="0"/>
          <a:ext cx="0" cy="0"/>
          <a:chOff x="0" y="0"/>
          <a:chExt cx="0" cy="0"/>
        </a:xfrm>
      </p:grpSpPr>
      <p:sp>
        <p:nvSpPr>
          <p:cNvPr id="1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1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8" name="Rectangle 7"/>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11"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tx2"/>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562216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A1D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A1DE"/>
                </a:solidFill>
              </a:defRPr>
            </a:lvl1pPr>
          </a:lstStyle>
          <a:p>
            <a:fld id="{313880FF-B11A-4FA9-B5CC-7226C1B8517C}" type="slidenum">
              <a:rPr lang="en-US" smtClean="0"/>
              <a:pPr/>
              <a:t>‹#›</a:t>
            </a:fld>
            <a:endParaRPr lang="en-US" dirty="0"/>
          </a:p>
        </p:txBody>
      </p:sp>
      <p:sp>
        <p:nvSpPr>
          <p:cNvPr id="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970378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92D400"/>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92D400"/>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501334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72C7E7"/>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72C7E7"/>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700978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3C8A2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3C8A2E"/>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91038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531246155"/>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2776"/>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2776"/>
                </a:solidFill>
              </a:defRPr>
            </a:lvl1pPr>
          </a:lstStyle>
          <a:p>
            <a:fld id="{313880FF-B11A-4FA9-B5CC-7226C1B8517C}" type="slidenum">
              <a:rPr lang="en-US" smtClean="0"/>
              <a:pPr/>
              <a:t>‹#›</a:t>
            </a:fld>
            <a:endParaRPr lang="en-US" dirty="0"/>
          </a:p>
        </p:txBody>
      </p:sp>
      <p:sp>
        <p:nvSpPr>
          <p:cNvPr id="13"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500337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C9DD03"/>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C9DD03"/>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89584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10" name="Rectangle 9"/>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59715" y="3526935"/>
            <a:ext cx="3457600" cy="712475"/>
          </a:xfrm>
          <a:prstGeom prst="rect">
            <a:avLst/>
          </a:prstGeom>
          <a:noFill/>
          <a:ln w="12700">
            <a:noFill/>
            <a:miter lim="800000"/>
            <a:headEnd/>
            <a:tailEnd/>
          </a:ln>
        </p:spPr>
      </p:pic>
      <p:sp>
        <p:nvSpPr>
          <p:cNvPr id="4"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FFFFFF"/>
                </a:solidFill>
              </a:defRPr>
            </a:lvl1pPr>
          </a:lstStyle>
          <a:p>
            <a:r>
              <a:rPr lang="en-US" smtClean="0"/>
              <a:t>©2015 Deloitte Poland</a:t>
            </a:r>
            <a:endParaRPr lang="en-US" dirty="0"/>
          </a:p>
        </p:txBody>
      </p:sp>
      <p:sp>
        <p:nvSpPr>
          <p:cNvPr id="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FFFFFF"/>
                </a:solidFill>
              </a:defRPr>
            </a:lvl1pPr>
          </a:lstStyle>
          <a:p>
            <a:fld id="{313880FF-B11A-4FA9-B5CC-7226C1B8517C}" type="slidenum">
              <a:rPr lang="en-US" smtClean="0"/>
              <a:pPr/>
              <a:t>‹#›</a:t>
            </a:fld>
            <a:endParaRPr lang="en-US" dirty="0"/>
          </a:p>
        </p:txBody>
      </p:sp>
    </p:spTree>
    <p:extLst>
      <p:ext uri="{BB962C8B-B14F-4D97-AF65-F5344CB8AC3E}">
        <p14:creationId xmlns:p14="http://schemas.microsoft.com/office/powerpoint/2010/main" val="3107003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2">
    <p:spTree>
      <p:nvGrpSpPr>
        <p:cNvPr id="1" name=""/>
        <p:cNvGrpSpPr/>
        <p:nvPr/>
      </p:nvGrpSpPr>
      <p:grpSpPr>
        <a:xfrm>
          <a:off x="0" y="0"/>
          <a:ext cx="0" cy="0"/>
          <a:chOff x="0" y="0"/>
          <a:chExt cx="0" cy="0"/>
        </a:xfrm>
      </p:grpSpPr>
      <p:sp>
        <p:nvSpPr>
          <p:cNvPr id="10" name="Rectangle 9"/>
          <p:cNvSpPr/>
          <p:nvPr userDrawn="1"/>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980">
              <a:solidFill>
                <a:srgbClr val="FFFFFF"/>
              </a:solidFill>
            </a:endParaRPr>
          </a:p>
        </p:txBody>
      </p:sp>
      <p:sp>
        <p:nvSpPr>
          <p:cNvPr id="2" name="Title 1"/>
          <p:cNvSpPr>
            <a:spLocks noGrp="1"/>
          </p:cNvSpPr>
          <p:nvPr>
            <p:ph type="ctrTitle"/>
          </p:nvPr>
        </p:nvSpPr>
        <p:spPr>
          <a:xfrm>
            <a:off x="413177" y="1910311"/>
            <a:ext cx="3049200" cy="812530"/>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pic>
        <p:nvPicPr>
          <p:cNvPr id="8" name="Picture 7" descr="DEL_PRI_RGB.gif"/>
          <p:cNvPicPr>
            <a:picLocks noChangeAspect="1"/>
          </p:cNvPicPr>
          <p:nvPr userDrawn="1"/>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26090006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ntents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95CC1D26-A9BD-4BDE-BDD9-08EDBAE96860}" type="slidenum">
              <a:rPr lang="en-GB" smtClean="0">
                <a:solidFill>
                  <a:srgbClr val="FFFFFF"/>
                </a:solidFill>
              </a:rPr>
              <a:pPr/>
              <a:t>‹#›</a:t>
            </a:fld>
            <a:endParaRPr lang="en-GB" dirty="0">
              <a:solidFill>
                <a:srgbClr val="FFFFFF"/>
              </a:solidFill>
            </a:endParaRPr>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GB" smtClean="0">
                <a:solidFill>
                  <a:srgbClr val="FFFFFF"/>
                </a:solidFill>
              </a:rPr>
              <a:t>©2015 Deloitte Poland</a:t>
            </a:r>
            <a:endParaRPr lang="en-GB" dirty="0">
              <a:solidFill>
                <a:srgbClr val="FFFFFF"/>
              </a:solidFill>
            </a:endParaRPr>
          </a:p>
        </p:txBody>
      </p:sp>
    </p:spTree>
    <p:extLst>
      <p:ext uri="{BB962C8B-B14F-4D97-AF65-F5344CB8AC3E}">
        <p14:creationId xmlns:p14="http://schemas.microsoft.com/office/powerpoint/2010/main" val="212672492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09651490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67331" y="824160"/>
            <a:ext cx="5940000" cy="612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bg1"/>
                </a:solidFill>
              </a:defRPr>
            </a:lvl1pPr>
            <a:lvl2pPr marL="0" marR="0" indent="0" algn="l" defTabSz="1005840" rtl="0" eaLnBrk="1" fontAlgn="auto" latinLnBrk="0" hangingPunct="1">
              <a:lnSpc>
                <a:spcPct val="100000"/>
              </a:lnSpc>
              <a:spcBef>
                <a:spcPts val="0"/>
              </a:spcBef>
              <a:spcAft>
                <a:spcPts val="0"/>
              </a:spcAft>
              <a:buClrTx/>
              <a:buSzPct val="100000"/>
              <a:buFont typeface="Arial"/>
              <a:buNone/>
              <a:tabLst/>
              <a:defRPr sz="1760" b="0">
                <a:solidFill>
                  <a:schemeClr val="bg1"/>
                </a:solidFill>
              </a:defRPr>
            </a:lvl2pPr>
            <a:lvl3pPr marL="0" indent="0" algn="l">
              <a:spcAft>
                <a:spcPts val="0"/>
              </a:spcAft>
              <a:buNone/>
              <a:defRPr sz="1760">
                <a:solidFill>
                  <a:schemeClr val="bg1"/>
                </a:solidFill>
              </a:defRPr>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marL="0" marR="0" lvl="1" indent="0" algn="l" defTabSz="100584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5244196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54096" y="824160"/>
            <a:ext cx="5940000" cy="612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tx1"/>
                </a:solidFill>
              </a:defRPr>
            </a:lvl1pPr>
            <a:lvl2pPr marL="0" indent="0" algn="l">
              <a:buNone/>
              <a:defRPr sz="1760" b="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905447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180910440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tx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55421229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112220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1538160"/>
            <a:ext cx="9226800" cy="5667526"/>
          </a:xfrm>
        </p:spPr>
        <p:txBody>
          <a:bodyPr/>
          <a:lstStyle>
            <a:lvl1pPr marL="0" indent="0" algn="l">
              <a:buNone/>
              <a:defRPr/>
            </a:lvl1pPr>
            <a:lvl2pPr marL="298609" indent="-298609">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93774438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7" name="TextBox 6"/>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8" name="TextBox 7"/>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281874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885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8348561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967423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8100082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103257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tx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89366207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550705"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0485973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4160"/>
            <a:ext cx="7653813" cy="539419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53234127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233576363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6518499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07880" y="2052240"/>
            <a:ext cx="45540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8" name="Chart Placeholder 7"/>
          <p:cNvSpPr>
            <a:spLocks noGrp="1"/>
          </p:cNvSpPr>
          <p:nvPr>
            <p:ph type="chart" sz="quarter" idx="15"/>
          </p:nvPr>
        </p:nvSpPr>
        <p:spPr>
          <a:xfrm>
            <a:off x="5107781" y="2052240"/>
            <a:ext cx="4554000" cy="5140800"/>
          </a:xfrm>
        </p:spPr>
        <p:txBody>
          <a:bodyPr/>
          <a:lstStyle/>
          <a:p>
            <a:r>
              <a:rPr lang="en-US" smtClean="0"/>
              <a:t>Click icon to add chart</a:t>
            </a:r>
            <a:endParaRPr lang="en-GB" dirty="0"/>
          </a:p>
        </p:txBody>
      </p:sp>
    </p:spTree>
    <p:extLst>
      <p:ext uri="{BB962C8B-B14F-4D97-AF65-F5344CB8AC3E}">
        <p14:creationId xmlns:p14="http://schemas.microsoft.com/office/powerpoint/2010/main" val="341048760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tx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7099532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13862" y="1887327"/>
            <a:ext cx="7653813" cy="5345325"/>
          </a:xfrm>
          <a:prstGeom prst="rect">
            <a:avLst/>
          </a:prstGeom>
        </p:spPr>
        <p:txBody>
          <a:bodyPr/>
          <a:lstStyle>
            <a:lvl1pPr>
              <a:tabLst>
                <a:tab pos="7402354" algn="r"/>
              </a:tabLst>
              <a:defRPr/>
            </a:lvl1pPr>
            <a:lvl2pPr>
              <a:tabLst>
                <a:tab pos="7402354" algn="r"/>
              </a:tabLst>
              <a:defRPr/>
            </a:lvl2pPr>
            <a:lvl3pPr>
              <a:tabLst>
                <a:tab pos="7402354" algn="r"/>
              </a:tabLst>
              <a:defRPr/>
            </a:lvl3pPr>
            <a:lvl4pPr>
              <a:tabLst>
                <a:tab pos="7402354" algn="r"/>
              </a:tabLst>
              <a:defRPr/>
            </a:lvl4pPr>
            <a:lvl5pPr>
              <a:tabLst>
                <a:tab pos="5532120" algn="r"/>
              </a:tabLst>
              <a:defRPr baseline="0"/>
            </a:lvl5pPr>
            <a:lvl6pPr>
              <a:tabLst>
                <a:tab pos="7402354" algn="r"/>
              </a:tabLst>
              <a:defRPr/>
            </a:lvl6pPr>
            <a:lvl7pPr>
              <a:tabLst>
                <a:tab pos="7402354" algn="r"/>
              </a:tabLst>
              <a:defRPr/>
            </a:lvl7pPr>
            <a:lvl8pPr>
              <a:tabLst>
                <a:tab pos="7402354" algn="r"/>
              </a:tabLst>
              <a:defRPr/>
            </a:lvl8pPr>
            <a:lvl9pPr>
              <a:tabLst>
                <a:tab pos="7402354"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413863" y="359833"/>
            <a:ext cx="9223691" cy="791634"/>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6586870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5"/>
            <a:ext cx="9230678" cy="791633"/>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496539" y="1928708"/>
            <a:ext cx="5148000" cy="5303943"/>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13862" y="1887327"/>
            <a:ext cx="3676554"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7088082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791633"/>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413862" y="1887327"/>
            <a:ext cx="9211468"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76622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887327"/>
            <a:ext cx="9211468" cy="534243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9490964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926908"/>
            <a:ext cx="9211468" cy="5302851"/>
          </a:xfrm>
          <a:prstGeom prst="rect">
            <a:avLst/>
          </a:prstGeom>
        </p:spPr>
        <p:txBody>
          <a:bodyPr vert="horz" lIns="0" tIns="0" rIns="0" bIns="0" rtlCol="0">
            <a:noAutofit/>
          </a:bodyPr>
          <a:lstStyle>
            <a:lvl1pPr>
              <a:defRPr sz="1760"/>
            </a:lvl1pPr>
            <a:lvl2pPr>
              <a:defRPr sz="1760"/>
            </a:lvl2pPr>
            <a:lvl3pPr>
              <a:defRPr sz="1760"/>
            </a:lvl3pPr>
            <a:lvl4pPr>
              <a:defRPr sz="1760"/>
            </a:lvl4pPr>
            <a:lvl5pPr>
              <a:defRPr sz="176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384698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3863" y="2325599"/>
            <a:ext cx="9230676" cy="4611548"/>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3" y="1887327"/>
            <a:ext cx="9230676" cy="444394"/>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13862" y="6937149"/>
            <a:ext cx="9230678"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351953951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2"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5800" y="2325599"/>
            <a:ext cx="2928378" cy="461154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1" y="1887327"/>
            <a:ext cx="2938939" cy="444394"/>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550127" y="2325599"/>
            <a:ext cx="2938333" cy="4611549"/>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50127" y="1887327"/>
            <a:ext cx="2938332" cy="444394"/>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704277" y="2325599"/>
            <a:ext cx="2940262" cy="4611549"/>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04277" y="1880364"/>
            <a:ext cx="2940263" cy="451357"/>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413861" y="6937149"/>
            <a:ext cx="9211470"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43514108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13862" y="359833"/>
            <a:ext cx="9242202"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413862" y="738481"/>
            <a:ext cx="9242202"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413862" y="1887327"/>
            <a:ext cx="4377102"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264769" y="1887327"/>
            <a:ext cx="4391295"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8674553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13861"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413861" y="1887327"/>
            <a:ext cx="4377104"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5266800" y="1887327"/>
            <a:ext cx="4377739"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130325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98609" indent="-298609">
              <a:buFont typeface="Arial" pitchFamily="34" charset="0"/>
              <a:buChar char="•"/>
              <a:tabLst/>
              <a:defRPr/>
            </a:lvl2pPr>
            <a:lvl3pPr marL="302102" indent="-302102">
              <a:buFont typeface="Arial" pitchFamily="34" charset="0"/>
              <a:buChar char="•"/>
              <a:defRPr i="1"/>
            </a:lvl3pPr>
            <a:lvl4pPr marL="588487" indent="-289878">
              <a:buFont typeface="Arial" pitchFamily="34" charset="0"/>
              <a:buChar char="−"/>
              <a:defRPr i="0"/>
            </a:lvl4pPr>
            <a:lvl5pPr marL="887095" indent="-298609">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91542760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13863" y="1887327"/>
            <a:ext cx="4418011" cy="50498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231509" y="2408348"/>
            <a:ext cx="4413031"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9" y="1887327"/>
            <a:ext cx="4413031"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30678" cy="295502"/>
          </a:xfrm>
        </p:spPr>
        <p:txBody>
          <a:bodyPr>
            <a:norm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196346622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231507" y="2408348"/>
            <a:ext cx="4413032"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8" y="1887327"/>
            <a:ext cx="4413032"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11470" cy="295502"/>
          </a:xfrm>
        </p:spPr>
        <p:txBody>
          <a:bodyPr>
            <a:normAutofit/>
          </a:bodyPr>
          <a:lstStyle>
            <a:lvl1pPr>
              <a:spcAft>
                <a:spcPts val="0"/>
              </a:spcAft>
              <a:defRPr sz="990"/>
            </a:lvl1pPr>
          </a:lstStyle>
          <a:p>
            <a:pPr lvl="0"/>
            <a:r>
              <a:rPr lang="en-US" noProof="0" smtClean="0"/>
              <a:t>Click to edit Master text styles</a:t>
            </a:r>
          </a:p>
        </p:txBody>
      </p:sp>
      <p:sp>
        <p:nvSpPr>
          <p:cNvPr id="9" name="Chart Placeholder 2"/>
          <p:cNvSpPr>
            <a:spLocks noGrp="1"/>
          </p:cNvSpPr>
          <p:nvPr>
            <p:ph type="chart" sz="quarter" idx="24"/>
          </p:nvPr>
        </p:nvSpPr>
        <p:spPr>
          <a:xfrm>
            <a:off x="413862" y="2408348"/>
            <a:ext cx="4404727" cy="45288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13861" y="1887327"/>
            <a:ext cx="4404728" cy="476779"/>
          </a:xfrm>
        </p:spPr>
        <p:txBody>
          <a:bodyPr/>
          <a:lstStyle/>
          <a:p>
            <a:pPr lvl="0"/>
            <a:r>
              <a:rPr lang="en-US" noProof="0" smtClean="0"/>
              <a:t>Click to edit Master text styles</a:t>
            </a:r>
          </a:p>
        </p:txBody>
      </p:sp>
    </p:spTree>
    <p:extLst>
      <p:ext uri="{BB962C8B-B14F-4D97-AF65-F5344CB8AC3E}">
        <p14:creationId xmlns:p14="http://schemas.microsoft.com/office/powerpoint/2010/main" val="91439319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3" y="359833"/>
            <a:ext cx="9230676"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413861" y="1887327"/>
            <a:ext cx="3656282"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496538" y="1926909"/>
            <a:ext cx="5148000" cy="530574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789230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6251753" y="1879837"/>
            <a:ext cx="3392786" cy="5352815"/>
          </a:xfrm>
          <a:prstGeom prst="rect">
            <a:avLst/>
          </a:prstGeom>
        </p:spPr>
        <p:txBody>
          <a:bodyPr>
            <a:noAutofit/>
          </a:bodyPr>
          <a:lstStyle>
            <a:lvl1pPr>
              <a:tabLst>
                <a:tab pos="5532120" algn="r"/>
              </a:tabLst>
              <a:defRPr sz="2640">
                <a:solidFill>
                  <a:schemeClr val="accent3"/>
                </a:solidFill>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13862" y="1887326"/>
            <a:ext cx="5367737" cy="5345324"/>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3" y="738481"/>
            <a:ext cx="9230676"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4160333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413861" y="1926908"/>
            <a:ext cx="2237400" cy="1428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744953" y="1926908"/>
            <a:ext cx="2237400" cy="1428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5076046" y="1926908"/>
            <a:ext cx="2237400" cy="1428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7407139" y="1926908"/>
            <a:ext cx="2237400" cy="1428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13861" y="3540760"/>
            <a:ext cx="2244386" cy="3691888"/>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073719" y="3536624"/>
            <a:ext cx="2237400" cy="3696026"/>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747283" y="3540759"/>
            <a:ext cx="2237400" cy="3691889"/>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7419364" y="3522976"/>
            <a:ext cx="2225176" cy="3709672"/>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413861" y="738481"/>
            <a:ext cx="923067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306222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Rectangle 3"/>
          <p:cNvSpPr/>
          <p:nvPr userDrawn="1"/>
        </p:nvSpPr>
        <p:spPr>
          <a:xfrm>
            <a:off x="415800" y="19347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5134870" y="1926908"/>
            <a:ext cx="4516930" cy="69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415800" y="46071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Rectangle 6"/>
          <p:cNvSpPr/>
          <p:nvPr userDrawn="1"/>
        </p:nvSpPr>
        <p:spPr>
          <a:xfrm>
            <a:off x="5134870" y="4607196"/>
            <a:ext cx="451693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8" name="Picture Placeholder 11"/>
          <p:cNvSpPr>
            <a:spLocks noGrp="1"/>
          </p:cNvSpPr>
          <p:nvPr>
            <p:ph type="pic" sz="quarter" idx="25"/>
          </p:nvPr>
        </p:nvSpPr>
        <p:spPr>
          <a:xfrm>
            <a:off x="415800" y="2130908"/>
            <a:ext cx="1623600" cy="16728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5134870" y="2130908"/>
            <a:ext cx="1623600" cy="16728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15800" y="4823708"/>
            <a:ext cx="1623600" cy="16728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5134870" y="4823708"/>
            <a:ext cx="1623600" cy="16728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213873" y="21309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927162" y="21309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213873" y="48237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927162" y="48237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5288175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413862" y="1926909"/>
            <a:ext cx="3048953" cy="223456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605278" y="1926909"/>
            <a:ext cx="3039262" cy="223456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525287" y="1926909"/>
            <a:ext cx="3017520" cy="223456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13862" y="4343188"/>
            <a:ext cx="3039258"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520440" y="4343188"/>
            <a:ext cx="3017520"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605278" y="4343188"/>
            <a:ext cx="3039262"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7630697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0181955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491429"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6"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664303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1877"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50010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15800" y="4816306"/>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5153110" y="4816306"/>
            <a:ext cx="449869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15800" y="4650654"/>
            <a:ext cx="4511878"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3" name="Rectangle 12"/>
          <p:cNvSpPr/>
          <p:nvPr userDrawn="1"/>
        </p:nvSpPr>
        <p:spPr>
          <a:xfrm>
            <a:off x="5153110" y="4650654"/>
            <a:ext cx="4491891"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4" name="Picture Placeholder 29"/>
          <p:cNvSpPr>
            <a:spLocks noGrp="1"/>
          </p:cNvSpPr>
          <p:nvPr>
            <p:ph type="pic" sz="quarter" idx="24" hasCustomPrompt="1"/>
          </p:nvPr>
        </p:nvSpPr>
        <p:spPr>
          <a:xfrm>
            <a:off x="3922457" y="4823134"/>
            <a:ext cx="1022490"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8600309" y="4816307"/>
            <a:ext cx="1026432"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2" y="738481"/>
            <a:ext cx="923793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Tree>
    <p:extLst>
      <p:ext uri="{BB962C8B-B14F-4D97-AF65-F5344CB8AC3E}">
        <p14:creationId xmlns:p14="http://schemas.microsoft.com/office/powerpoint/2010/main" val="5360184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8" name="Rectangle 7"/>
          <p:cNvSpPr/>
          <p:nvPr/>
        </p:nvSpPr>
        <p:spPr>
          <a:xfrm>
            <a:off x="0" y="0"/>
            <a:ext cx="50292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5" y="2050315"/>
            <a:ext cx="4464912" cy="5141371"/>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5" y="335107"/>
            <a:ext cx="4464912"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5" y="867198"/>
            <a:ext cx="4464912"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45310082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3564000" y="1933430"/>
            <a:ext cx="2933797"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415800" y="1926909"/>
            <a:ext cx="2937000" cy="6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6695123" y="1933430"/>
            <a:ext cx="2956679"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Text Placeholder 8"/>
          <p:cNvSpPr>
            <a:spLocks noGrp="1"/>
          </p:cNvSpPr>
          <p:nvPr>
            <p:ph type="body" sz="quarter" idx="17"/>
          </p:nvPr>
        </p:nvSpPr>
        <p:spPr>
          <a:xfrm>
            <a:off x="3568712" y="2098300"/>
            <a:ext cx="2920976"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15800" y="2098300"/>
            <a:ext cx="2937000"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05599" y="2098300"/>
            <a:ext cx="2946202"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8908229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489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883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186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5943349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3861" y="359834"/>
            <a:ext cx="9230679" cy="419552"/>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812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9907"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4014"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79387"/>
            <a:ext cx="9230679" cy="858222"/>
          </a:xfrm>
          <a:prstGeom prst="rect">
            <a:avLst/>
          </a:prstGeom>
        </p:spPr>
        <p:txBody>
          <a:bodyPr lIns="0" tIns="0" rIns="0" bIns="0">
            <a:noAutofit/>
          </a:bodyPr>
          <a:lstStyle>
            <a:lvl1pPr marL="0" indent="0">
              <a:buNone/>
              <a:defRPr sz="2200" b="0">
                <a:solidFill>
                  <a:schemeClr val="bg1"/>
                </a:solidFill>
              </a:defRPr>
            </a:lvl1pPr>
          </a:lstStyle>
          <a:p>
            <a:pPr lvl="0"/>
            <a:r>
              <a:rPr lang="en-US" noProof="0" dirty="0"/>
              <a:t>Click to add subtitle</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416820724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413861" y="1887327"/>
            <a:ext cx="4615339"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8395523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9352995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93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13863" y="4773549"/>
            <a:ext cx="7036372" cy="2459102"/>
          </a:xfrm>
        </p:spPr>
        <p:txBody>
          <a:bodyPr anchor="b" anchorCtr="0"/>
          <a:lstStyle>
            <a:lvl1pPr>
              <a:lnSpc>
                <a:spcPct val="100000"/>
              </a:lnSpc>
              <a:spcAft>
                <a:spcPts val="660"/>
              </a:spcAft>
              <a:defRPr sz="99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730949" y="4773549"/>
            <a:ext cx="1913590" cy="1955508"/>
          </a:xfrm>
        </p:spPr>
        <p:txBody>
          <a:bodyPr anchor="ctr" anchorCtr="0"/>
          <a:lstStyle>
            <a:lvl1pPr algn="ctr">
              <a:defRPr sz="990"/>
            </a:lvl1pPr>
          </a:lstStyle>
          <a:p>
            <a:r>
              <a:rPr lang="en-US" sz="990" noProof="0" dirty="0"/>
              <a:t>Insert sponsorship mark here</a:t>
            </a:r>
            <a:endParaRPr lang="en-US" noProof="0" dirty="0"/>
          </a:p>
        </p:txBody>
      </p:sp>
      <p:sp>
        <p:nvSpPr>
          <p:cNvPr id="8" name="Text Placeholder 7"/>
          <p:cNvSpPr>
            <a:spLocks noGrp="1"/>
          </p:cNvSpPr>
          <p:nvPr>
            <p:ph type="body" sz="quarter" idx="15"/>
          </p:nvPr>
        </p:nvSpPr>
        <p:spPr>
          <a:xfrm>
            <a:off x="7730951" y="6820432"/>
            <a:ext cx="1913589" cy="412218"/>
          </a:xfrm>
        </p:spPr>
        <p:txBody>
          <a:bodyPr anchor="b" anchorCtr="0"/>
          <a:lstStyle>
            <a:lvl1pPr>
              <a:lnSpc>
                <a:spcPct val="100000"/>
              </a:lnSpc>
              <a:defRPr sz="1045"/>
            </a:lvl1pPr>
          </a:lstStyle>
          <a:p>
            <a:pPr lvl="0"/>
            <a:r>
              <a:rPr lang="en-US" noProof="0" smtClean="0"/>
              <a:t>Click to edit Master text styles</a:t>
            </a:r>
          </a:p>
        </p:txBody>
      </p:sp>
      <p:grpSp>
        <p:nvGrpSpPr>
          <p:cNvPr id="9" name="Group 8"/>
          <p:cNvGrpSpPr/>
          <p:nvPr userDrawn="1"/>
        </p:nvGrpSpPr>
        <p:grpSpPr>
          <a:xfrm>
            <a:off x="415790" y="428400"/>
            <a:ext cx="1782000" cy="349039"/>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24438696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8" name="Rectangle 7"/>
          <p:cNvSpPr/>
          <p:nvPr/>
        </p:nvSpPr>
        <p:spPr>
          <a:xfrm>
            <a:off x="429545" y="728640"/>
            <a:ext cx="5433120" cy="599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623381" y="1953882"/>
            <a:ext cx="5081623" cy="4846989"/>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529083" y="345903"/>
            <a:ext cx="5333084" cy="393533"/>
          </a:xfrm>
          <a:prstGeom prst="rect">
            <a:avLst/>
          </a:prstGeom>
        </p:spPr>
        <p:txBody>
          <a:bodyPr vert="horz" lIns="0" tIns="0" rIns="0" bIns="0" rtlCol="0" anchor="ctr" anchorCtr="0">
            <a:normAutofit/>
          </a:bodyPr>
          <a:lstStyle>
            <a:lvl1pPr>
              <a:defRPr sz="154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623381" y="818778"/>
            <a:ext cx="5081908" cy="1146940"/>
          </a:xfrm>
        </p:spPr>
        <p:txBody>
          <a:bodyPr anchor="ctr" anchorCtr="0">
            <a:normAutofit/>
          </a:bodyPr>
          <a:lstStyle>
            <a:lvl1pPr marL="0" indent="0">
              <a:buNone/>
              <a:defRPr sz="33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
        <p:nvSpPr>
          <p:cNvPr id="10" name="Rectangle 9"/>
          <p:cNvSpPr/>
          <p:nvPr/>
        </p:nvSpPr>
        <p:spPr>
          <a:xfrm>
            <a:off x="429545" y="345415"/>
            <a:ext cx="5432622" cy="38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Tree>
    <p:extLst>
      <p:ext uri="{BB962C8B-B14F-4D97-AF65-F5344CB8AC3E}">
        <p14:creationId xmlns:p14="http://schemas.microsoft.com/office/powerpoint/2010/main" val="333385848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image" Target="../media/image3.emf"/><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oleObject" Target="../embeddings/oleObject2.bin"/><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tags" Target="../tags/tag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7124" y="335108"/>
            <a:ext cx="9226800" cy="171834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07124" y="2050315"/>
            <a:ext cx="9226800" cy="514137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8"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28980438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899" r:id="rId23"/>
    <p:sldLayoutId id="2147483900" r:id="rId24"/>
    <p:sldLayoutId id="2147483901" r:id="rId25"/>
    <p:sldLayoutId id="2147483904" r:id="rId26"/>
    <p:sldLayoutId id="2147483907" r:id="rId27"/>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3300" kern="1200">
          <a:solidFill>
            <a:schemeClr val="accent2"/>
          </a:solidFill>
          <a:latin typeface="+mj-lt"/>
          <a:ea typeface="+mj-ea"/>
          <a:cs typeface="+mj-cs"/>
        </a:defRPr>
      </a:lvl1pPr>
    </p:titleStyle>
    <p:bodyStyle>
      <a:lvl1pPr marL="302102" indent="-302102" algn="l" defTabSz="1005840" rtl="0" eaLnBrk="1" latinLnBrk="0" hangingPunct="1">
        <a:spcBef>
          <a:spcPts val="1320"/>
        </a:spcBef>
        <a:buFont typeface="Arial" pitchFamily="34" charset="0"/>
        <a:buChar char="•"/>
        <a:defRPr sz="1980" b="0" kern="1200">
          <a:solidFill>
            <a:schemeClr val="tx2"/>
          </a:solidFill>
          <a:latin typeface="+mn-lt"/>
          <a:ea typeface="+mn-ea"/>
          <a:cs typeface="+mn-cs"/>
        </a:defRPr>
      </a:lvl1pPr>
      <a:lvl2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2pPr>
      <a:lvl3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3pPr>
      <a:lvl4pPr marL="492443" indent="-199073"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4pPr>
      <a:lvl5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4653" y="448622"/>
            <a:ext cx="9266400" cy="418576"/>
          </a:xfrm>
          <a:prstGeom prst="rect">
            <a:avLst/>
          </a:prstGeom>
        </p:spPr>
        <p:txBody>
          <a:bodyPr vert="horz" wrap="square" lIns="0" tIns="0" rIns="0" bIns="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94653" y="1437535"/>
            <a:ext cx="9266400" cy="5712354"/>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pPr fontAlgn="auto">
              <a:spcBef>
                <a:spcPts val="0"/>
              </a:spcBef>
              <a:spcAft>
                <a:spcPts val="0"/>
              </a:spcAft>
            </a:pPr>
            <a:r>
              <a:rPr lang="en-US" smtClean="0">
                <a:solidFill>
                  <a:srgbClr val="002776"/>
                </a:solidFill>
                <a:latin typeface="Arial"/>
                <a:cs typeface="+mn-cs"/>
              </a:rPr>
              <a:t>©2015 Deloitte Poland</a:t>
            </a:r>
            <a:endParaRPr lang="en-US" dirty="0">
              <a:solidFill>
                <a:srgbClr val="002776"/>
              </a:solidFill>
              <a:latin typeface="Arial"/>
              <a:cs typeface="+mn-cs"/>
            </a:endParaRPr>
          </a:p>
        </p:txBody>
      </p:sp>
      <p:sp>
        <p:nvSpPr>
          <p:cNvPr id="6"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pPr fontAlgn="auto">
              <a:spcBef>
                <a:spcPts val="0"/>
              </a:spcBef>
              <a:spcAft>
                <a:spcPts val="0"/>
              </a:spcAft>
            </a:pPr>
            <a:fld id="{313880FF-B11A-4FA9-B5CC-7226C1B8517C}" type="slidenum">
              <a:rPr lang="en-US" smtClean="0">
                <a:solidFill>
                  <a:srgbClr val="002776"/>
                </a:solidFill>
                <a:latin typeface="Arial"/>
                <a:cs typeface="+mn-cs"/>
              </a:rPr>
              <a:pPr fontAlgn="auto">
                <a:spcBef>
                  <a:spcPts val="0"/>
                </a:spcBef>
                <a:spcAft>
                  <a:spcPts val="0"/>
                </a:spcAft>
              </a:pPr>
              <a:t>‹#›</a:t>
            </a:fld>
            <a:endParaRPr lang="en-US" dirty="0">
              <a:solidFill>
                <a:srgbClr val="002776"/>
              </a:solidFill>
              <a:latin typeface="Arial"/>
              <a:cs typeface="+mn-cs"/>
            </a:endParaRPr>
          </a:p>
        </p:txBody>
      </p:sp>
      <p:sp>
        <p:nvSpPr>
          <p:cNvPr id="8" name="TextBox 7"/>
          <p:cNvSpPr txBox="1"/>
          <p:nvPr/>
        </p:nvSpPr>
        <p:spPr>
          <a:xfrm>
            <a:off x="394653" y="-289205"/>
            <a:ext cx="1638269" cy="135422"/>
          </a:xfrm>
          <a:prstGeom prst="rect">
            <a:avLst/>
          </a:prstGeom>
          <a:noFill/>
        </p:spPr>
        <p:txBody>
          <a:bodyPr wrap="none" lIns="0" tIns="0" rIns="0" bIns="0" rtlCol="0">
            <a:spAutoFit/>
          </a:bodyPr>
          <a:lstStyle/>
          <a:p>
            <a:pPr fontAlgn="auto">
              <a:spcBef>
                <a:spcPts val="0"/>
              </a:spcBef>
              <a:spcAft>
                <a:spcPts val="330"/>
              </a:spcAft>
            </a:pPr>
            <a:r>
              <a:rPr lang="en-US" sz="880" b="1" dirty="0" smtClean="0">
                <a:solidFill>
                  <a:srgbClr val="FFFFFF"/>
                </a:solidFill>
                <a:latin typeface="Arial"/>
                <a:cs typeface="+mn-cs"/>
              </a:rPr>
              <a:t>Deloitte screen small Jan 2010</a:t>
            </a:r>
          </a:p>
        </p:txBody>
      </p:sp>
      <p:sp>
        <p:nvSpPr>
          <p:cNvPr id="9" name="bmkCopyright"/>
          <p:cNvSpPr txBox="1">
            <a:spLocks/>
          </p:cNvSpPr>
          <p:nvPr/>
        </p:nvSpPr>
        <p:spPr>
          <a:xfrm>
            <a:off x="7674742" y="7477337"/>
            <a:ext cx="1989006" cy="1428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n-US" sz="880" dirty="0" smtClean="0">
                <a:solidFill>
                  <a:srgbClr val="002776"/>
                </a:solidFill>
                <a:latin typeface="Arial"/>
                <a:cs typeface="+mn-cs"/>
              </a:rPr>
              <a:t>©2010 Deloitte Touche Tohmatsu Limited. All rights reserved.</a:t>
            </a:r>
            <a:endParaRPr lang="en-US" sz="880" dirty="0">
              <a:solidFill>
                <a:srgbClr val="002776"/>
              </a:solidFill>
              <a:latin typeface="Arial"/>
              <a:cs typeface="+mn-cs"/>
            </a:endParaRPr>
          </a:p>
        </p:txBody>
      </p:sp>
    </p:spTree>
    <p:extLst>
      <p:ext uri="{BB962C8B-B14F-4D97-AF65-F5344CB8AC3E}">
        <p14:creationId xmlns:p14="http://schemas.microsoft.com/office/powerpoint/2010/main" val="189968942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Lst>
  <p:hf hdr="0" dt="0"/>
  <p:txStyles>
    <p:titleStyle>
      <a:lvl1pPr algn="l" defTabSz="1005840" rtl="0" eaLnBrk="1" latinLnBrk="0" hangingPunct="1">
        <a:spcBef>
          <a:spcPct val="0"/>
        </a:spcBef>
        <a:buNone/>
        <a:defRPr sz="2640" b="1" kern="1200">
          <a:solidFill>
            <a:schemeClr val="tx2"/>
          </a:solidFill>
          <a:latin typeface="+mn-lt"/>
          <a:ea typeface="+mj-ea"/>
          <a:cs typeface="+mj-cs"/>
        </a:defRPr>
      </a:lvl1pPr>
    </p:titleStyle>
    <p:bodyStyle>
      <a:lvl1pPr marL="0" indent="0" algn="l" defTabSz="1005840" rtl="0" eaLnBrk="1" latinLnBrk="0" hangingPunct="1">
        <a:spcBef>
          <a:spcPts val="11"/>
        </a:spcBef>
        <a:spcAft>
          <a:spcPts val="0"/>
        </a:spcAft>
        <a:buFont typeface="Arial" pitchFamily="34" charset="0"/>
        <a:buNone/>
        <a:defRPr lang="en-US" sz="1980" kern="1200" dirty="0" smtClean="0">
          <a:solidFill>
            <a:schemeClr val="tx2"/>
          </a:solidFill>
          <a:latin typeface="+mn-lt"/>
          <a:ea typeface="+mj-ea"/>
          <a:cs typeface="+mj-cs"/>
        </a:defRPr>
      </a:lvl1pPr>
      <a:lvl2pPr marL="198000" indent="-198000" algn="l" defTabSz="1005840" rtl="0" eaLnBrk="1" latinLnBrk="0" hangingPunct="1">
        <a:spcBef>
          <a:spcPts val="440"/>
        </a:spcBef>
        <a:spcAft>
          <a:spcPts val="0"/>
        </a:spcAft>
        <a:buFont typeface="Arial" pitchFamily="34" charset="0"/>
        <a:buChar char="•"/>
        <a:defRPr lang="en-US" sz="1980" kern="1200" dirty="0" smtClean="0">
          <a:solidFill>
            <a:schemeClr val="tx2"/>
          </a:solidFill>
          <a:latin typeface="+mn-lt"/>
          <a:ea typeface="+mj-ea"/>
          <a:cs typeface="+mj-cs"/>
        </a:defRPr>
      </a:lvl2pPr>
      <a:lvl3pPr marL="396000"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3pPr>
      <a:lvl4pPr marL="593725"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4pPr>
      <a:lvl5pPr marL="792000" indent="-198000" algn="l" defTabSz="1005840" rtl="0" eaLnBrk="1" latinLnBrk="0" hangingPunct="1">
        <a:spcBef>
          <a:spcPts val="440"/>
        </a:spcBef>
        <a:spcAft>
          <a:spcPts val="0"/>
        </a:spcAft>
        <a:buFont typeface="Arial" pitchFamily="34" charset="0"/>
        <a:buChar char="‒"/>
        <a:defRPr lang="en-GB" sz="1760" kern="1200" baseline="0" dirty="0" smtClean="0">
          <a:solidFill>
            <a:schemeClr val="tx2"/>
          </a:solidFill>
          <a:latin typeface="+mn-lt"/>
          <a:ea typeface="+mj-ea"/>
          <a:cs typeface="+mj-cs"/>
        </a:defRPr>
      </a:lvl5pPr>
      <a:lvl6pPr marL="990000" indent="-198000" algn="l" defTabSz="1005840" rtl="0" eaLnBrk="1" latinLnBrk="0" hangingPunct="1">
        <a:spcBef>
          <a:spcPts val="0"/>
        </a:spcBef>
        <a:spcAft>
          <a:spcPts val="330"/>
        </a:spcAft>
        <a:buFont typeface="Arial" pitchFamily="34" charset="0"/>
        <a:buChar char="•"/>
        <a:defRPr sz="1760" kern="1200" baseline="0">
          <a:solidFill>
            <a:schemeClr val="tx2"/>
          </a:solidFill>
          <a:latin typeface="+mn-lt"/>
          <a:ea typeface="+mn-ea"/>
          <a:cs typeface="+mn-cs"/>
        </a:defRPr>
      </a:lvl6pPr>
      <a:lvl7pPr marL="118745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7pPr>
      <a:lvl8pPr marL="1386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8pPr>
      <a:lvl9pPr marL="1584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spid="_x0000_s5530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747" y="1800"/>
                        <a:ext cx="1746" cy="1799"/>
                      </a:xfrm>
                      <a:prstGeom prst="rect">
                        <a:avLst/>
                      </a:prstGeom>
                    </p:spPr>
                  </p:pic>
                </p:oleObj>
              </mc:Fallback>
            </mc:AlternateContent>
          </a:graphicData>
        </a:graphic>
      </p:graphicFrame>
      <p:sp>
        <p:nvSpPr>
          <p:cNvPr id="2" name="Title Placeholder 1"/>
          <p:cNvSpPr>
            <a:spLocks noGrp="1"/>
          </p:cNvSpPr>
          <p:nvPr>
            <p:ph type="title"/>
          </p:nvPr>
        </p:nvSpPr>
        <p:spPr bwMode="gray">
          <a:xfrm>
            <a:off x="413862" y="359834"/>
            <a:ext cx="9230678" cy="784437"/>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TextBox 14"/>
          <p:cNvSpPr txBox="1"/>
          <p:nvPr userDrawn="1"/>
        </p:nvSpPr>
        <p:spPr>
          <a:xfrm>
            <a:off x="5226527" y="7340599"/>
            <a:ext cx="4039662" cy="226729"/>
          </a:xfrm>
          <a:prstGeom prst="rect">
            <a:avLst/>
          </a:prstGeom>
          <a:noFill/>
        </p:spPr>
        <p:txBody>
          <a:bodyPr wrap="square" lIns="0" tIns="0" rIns="0" bIns="0" rtlCol="0">
            <a:noAutofit/>
          </a:bodyPr>
          <a:lstStyle/>
          <a:p>
            <a:pPr algn="r" fontAlgn="auto">
              <a:spcBef>
                <a:spcPts val="0"/>
              </a:spcBef>
              <a:spcAft>
                <a:spcPts val="0"/>
              </a:spcAft>
              <a:buSzPct val="100000"/>
              <a:buFont typeface="Arial"/>
              <a:buNone/>
            </a:pPr>
            <a:r>
              <a:rPr lang="en-US" sz="715" dirty="0">
                <a:solidFill>
                  <a:prstClr val="black"/>
                </a:solidFill>
                <a:latin typeface="Verdana"/>
                <a:cs typeface="+mn-cs"/>
              </a:rPr>
              <a:t>Presentation title</a:t>
            </a:r>
            <a:br>
              <a:rPr lang="en-US" sz="715" dirty="0">
                <a:solidFill>
                  <a:prstClr val="black"/>
                </a:solidFill>
                <a:latin typeface="Verdana"/>
                <a:cs typeface="+mn-cs"/>
              </a:rPr>
            </a:br>
            <a:r>
              <a:rPr lang="en-US" sz="715" dirty="0">
                <a:solidFill>
                  <a:prstClr val="black"/>
                </a:solidFill>
                <a:latin typeface="Verdana"/>
                <a:cs typeface="+mn-cs"/>
              </a:rPr>
              <a:t>[To edit, click View &gt; Slide Master &gt; Slide Master]</a:t>
            </a:r>
          </a:p>
        </p:txBody>
      </p:sp>
      <p:sp>
        <p:nvSpPr>
          <p:cNvPr id="18" name="TextBox 17"/>
          <p:cNvSpPr txBox="1"/>
          <p:nvPr userDrawn="1"/>
        </p:nvSpPr>
        <p:spPr>
          <a:xfrm>
            <a:off x="413861" y="7340600"/>
            <a:ext cx="4418014" cy="228095"/>
          </a:xfrm>
          <a:prstGeom prst="rect">
            <a:avLst/>
          </a:prstGeom>
          <a:noFill/>
        </p:spPr>
        <p:txBody>
          <a:bodyPr wrap="square" lIns="0" tIns="0" rIns="0" bIns="0" rtlCol="0">
            <a:noAutofit/>
          </a:bodyPr>
          <a:lstStyle/>
          <a:p>
            <a:pPr fontAlgn="auto">
              <a:spcBef>
                <a:spcPts val="660"/>
              </a:spcBef>
              <a:spcAft>
                <a:spcPts val="0"/>
              </a:spcAft>
              <a:buSzPct val="100000"/>
              <a:buFont typeface="Arial"/>
              <a:buNone/>
            </a:pPr>
            <a:r>
              <a:rPr lang="en-US" sz="715">
                <a:solidFill>
                  <a:prstClr val="black"/>
                </a:solidFill>
                <a:latin typeface="Verdana"/>
                <a:cs typeface="+mn-cs"/>
              </a:rPr>
              <a:t>© 2016 Deloitte Polska</a:t>
            </a:r>
          </a:p>
        </p:txBody>
      </p:sp>
      <p:sp>
        <p:nvSpPr>
          <p:cNvPr id="19" name="Text Placeholder 18"/>
          <p:cNvSpPr>
            <a:spLocks noGrp="1"/>
          </p:cNvSpPr>
          <p:nvPr>
            <p:ph type="body" idx="1"/>
          </p:nvPr>
        </p:nvSpPr>
        <p:spPr>
          <a:xfrm>
            <a:off x="413861" y="1887327"/>
            <a:ext cx="9230678" cy="534532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9390461" y="7340601"/>
            <a:ext cx="254079" cy="113364"/>
          </a:xfrm>
          <a:prstGeom prst="rect">
            <a:avLst/>
          </a:prstGeom>
          <a:noFill/>
        </p:spPr>
        <p:txBody>
          <a:bodyPr wrap="square" lIns="0" tIns="0" rIns="0" bIns="0" rtlCol="0">
            <a:noAutofit/>
          </a:bodyPr>
          <a:lstStyle/>
          <a:p>
            <a:pPr algn="r" fontAlgn="auto">
              <a:spcBef>
                <a:spcPts val="660"/>
              </a:spcBef>
              <a:spcAft>
                <a:spcPts val="0"/>
              </a:spcAft>
              <a:buSzPct val="100000"/>
              <a:buFont typeface="Arial"/>
              <a:buNone/>
            </a:pPr>
            <a:fld id="{C58DF478-B544-4ED8-9ED4-6A2648E2D233}" type="slidenum">
              <a:rPr lang="en-US" sz="715">
                <a:solidFill>
                  <a:prstClr val="black"/>
                </a:solidFill>
                <a:latin typeface="Verdana"/>
                <a:cs typeface="+mn-cs"/>
              </a:rPr>
              <a:pPr algn="r" fontAlgn="auto">
                <a:spcBef>
                  <a:spcPts val="660"/>
                </a:spcBef>
                <a:spcAft>
                  <a:spcPts val="0"/>
                </a:spcAft>
                <a:buSzPct val="100000"/>
                <a:buFont typeface="Arial"/>
                <a:buNone/>
              </a:pPr>
              <a:t>‹#›</a:t>
            </a:fld>
            <a:endParaRPr lang="en-US" sz="715" dirty="0">
              <a:solidFill>
                <a:prstClr val="black"/>
              </a:solidFill>
              <a:latin typeface="Verdana"/>
              <a:cs typeface="+mn-cs"/>
            </a:endParaRPr>
          </a:p>
        </p:txBody>
      </p:sp>
    </p:spTree>
    <p:extLst>
      <p:ext uri="{BB962C8B-B14F-4D97-AF65-F5344CB8AC3E}">
        <p14:creationId xmlns:p14="http://schemas.microsoft.com/office/powerpoint/2010/main" val="107916089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 id="2147483987" r:id="rId35"/>
    <p:sldLayoutId id="2147483988" r:id="rId36"/>
    <p:sldLayoutId id="2147483989" r:id="rId37"/>
    <p:sldLayoutId id="2147483990" r:id="rId38"/>
    <p:sldLayoutId id="2147483991" r:id="rId39"/>
    <p:sldLayoutId id="2147483992" r:id="rId40"/>
    <p:sldLayoutId id="2147483993" r:id="rId41"/>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2200" kern="1200">
          <a:solidFill>
            <a:schemeClr val="tx1"/>
          </a:solidFill>
          <a:latin typeface="+mj-lt"/>
          <a:ea typeface="+mj-ea"/>
          <a:cs typeface="+mj-cs"/>
        </a:defRPr>
      </a:lvl1pPr>
    </p:titleStyle>
    <p:bodyStyle>
      <a:lvl1pPr marL="0" indent="0" algn="l" defTabSz="1005840" rtl="0" eaLnBrk="1" latinLnBrk="0" hangingPunct="1">
        <a:spcBef>
          <a:spcPts val="0"/>
        </a:spcBef>
        <a:spcAft>
          <a:spcPts val="1100"/>
        </a:spcAft>
        <a:buSzPct val="100000"/>
        <a:buFont typeface="Arial" panose="020B0604020202020204" pitchFamily="34" charset="0"/>
        <a:buNone/>
        <a:defRPr sz="1320" b="0" kern="1200">
          <a:solidFill>
            <a:schemeClr val="tx1"/>
          </a:solidFill>
          <a:latin typeface="+mn-lt"/>
          <a:ea typeface="+mn-ea"/>
          <a:cs typeface="+mn-cs"/>
        </a:defRPr>
      </a:lvl1pPr>
      <a:lvl2pPr marL="0" indent="0" algn="l" defTabSz="1005840" rtl="0" eaLnBrk="1" latinLnBrk="0" hangingPunct="1">
        <a:spcBef>
          <a:spcPts val="0"/>
        </a:spcBef>
        <a:spcAft>
          <a:spcPts val="1100"/>
        </a:spcAft>
        <a:buClrTx/>
        <a:buSzPct val="100000"/>
        <a:buFont typeface="Arial"/>
        <a:buNone/>
        <a:defRPr lang="en-US" sz="1320" b="1" kern="1200" dirty="0" smtClean="0">
          <a:solidFill>
            <a:schemeClr val="tx1"/>
          </a:solidFill>
          <a:latin typeface="+mn-lt"/>
          <a:ea typeface="+mn-ea"/>
          <a:cs typeface="+mn-cs"/>
        </a:defRPr>
      </a:lvl2pPr>
      <a:lvl3pPr marL="194040" indent="-194040" algn="l" defTabSz="1005840" rtl="0" eaLnBrk="1" latinLnBrk="0" hangingPunct="1">
        <a:spcBef>
          <a:spcPts val="0"/>
        </a:spcBef>
        <a:spcAft>
          <a:spcPts val="1100"/>
        </a:spcAft>
        <a:buClrTx/>
        <a:buSzPct val="100000"/>
        <a:buFont typeface="Arial" panose="020B0604020202020204" pitchFamily="34" charset="0"/>
        <a:buChar char="•"/>
        <a:defRPr lang="en-US" sz="1320" kern="1200" dirty="0" smtClean="0">
          <a:solidFill>
            <a:schemeClr val="tx1"/>
          </a:solidFill>
          <a:latin typeface="+mn-lt"/>
          <a:ea typeface="+mn-ea"/>
          <a:cs typeface="+mn-cs"/>
        </a:defRPr>
      </a:lvl3pPr>
      <a:lvl4pPr marL="392040" indent="-194040" algn="l" defTabSz="1005840" rtl="0" eaLnBrk="1" latinLnBrk="0" hangingPunct="1">
        <a:spcBef>
          <a:spcPts val="0"/>
        </a:spcBef>
        <a:spcAft>
          <a:spcPts val="1100"/>
        </a:spcAft>
        <a:buClrTx/>
        <a:buSzPct val="100000"/>
        <a:buFont typeface="Verdana" panose="020B0604030504040204" pitchFamily="34" charset="0"/>
        <a:buChar char="−"/>
        <a:defRPr lang="en-US" sz="1320" kern="1200" baseline="0" dirty="0" smtClean="0">
          <a:solidFill>
            <a:schemeClr val="tx1"/>
          </a:solidFill>
          <a:latin typeface="+mn-lt"/>
          <a:ea typeface="+mn-ea"/>
          <a:cs typeface="+mn-cs"/>
        </a:defRPr>
      </a:lvl4pPr>
      <a:lvl5pPr marL="586080" indent="-194040" algn="l" defTabSz="878364" rtl="0" eaLnBrk="1" latinLnBrk="0" hangingPunct="1">
        <a:spcBef>
          <a:spcPts val="0"/>
        </a:spcBef>
        <a:spcAft>
          <a:spcPts val="1100"/>
        </a:spcAft>
        <a:buClrTx/>
        <a:buSzPct val="100000"/>
        <a:buFont typeface="Verdana" panose="020B0604030504040204" pitchFamily="34" charset="0"/>
        <a:buChar char="−"/>
        <a:tabLst/>
        <a:defRPr lang="en-US" sz="1320" kern="1200" baseline="0" dirty="0" smtClean="0">
          <a:solidFill>
            <a:schemeClr val="tx1"/>
          </a:solidFill>
          <a:latin typeface="+mn-lt"/>
          <a:ea typeface="+mn-ea"/>
          <a:cs typeface="+mn-cs"/>
        </a:defRPr>
      </a:lvl5pPr>
      <a:lvl6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6pPr>
      <a:lvl7pPr marL="586080" indent="-194040" algn="l" defTabSz="1005840" rtl="0" eaLnBrk="1" latinLnBrk="0" hangingPunct="1">
        <a:spcBef>
          <a:spcPts val="0"/>
        </a:spcBef>
        <a:spcAft>
          <a:spcPts val="1100"/>
        </a:spcAft>
        <a:buFont typeface="Verdana" panose="020B0604030504040204" pitchFamily="34" charset="0"/>
        <a:buChar char="−"/>
        <a:defRPr sz="1320" kern="1200">
          <a:solidFill>
            <a:schemeClr val="tx1"/>
          </a:solidFill>
          <a:latin typeface="+mn-lt"/>
          <a:ea typeface="+mn-ea"/>
          <a:cs typeface="+mn-cs"/>
        </a:defRPr>
      </a:lvl7pPr>
      <a:lvl8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8pPr>
      <a:lvl9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hyperlink" Target="http://www.deloitte.com/pl/onas" TargetMode="External"/><Relationship Id="rId2" Type="http://schemas.openxmlformats.org/officeDocument/2006/relationships/notesSlide" Target="../notesSlides/notesSlide1.xml"/><Relationship Id="rId1" Type="http://schemas.openxmlformats.org/officeDocument/2006/relationships/slideLayout" Target="../slideLayouts/slideLayout86.xml"/><Relationship Id="rId5" Type="http://schemas.openxmlformats.org/officeDocument/2006/relationships/image" Target="../media/image9.png"/><Relationship Id="rId4" Type="http://schemas.openxmlformats.org/officeDocument/2006/relationships/hyperlink" Target="mailto:awaclawczyk@deloittece.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86168B5-F3C7-4564-90C1-D6926DD1A228}" type="slidenum">
              <a:rPr lang="en-US" smtClean="0"/>
              <a:pPr/>
              <a:t>1</a:t>
            </a:fld>
            <a:endParaRPr lang="en-US"/>
          </a:p>
        </p:txBody>
      </p:sp>
      <p:sp>
        <p:nvSpPr>
          <p:cNvPr id="5" name="Footer Placeholder 4"/>
          <p:cNvSpPr>
            <a:spLocks noGrp="1"/>
          </p:cNvSpPr>
          <p:nvPr>
            <p:ph type="ftr" sz="quarter" idx="3"/>
          </p:nvPr>
        </p:nvSpPr>
        <p:spPr/>
        <p:txBody>
          <a:bodyPr/>
          <a:lstStyle/>
          <a:p>
            <a:endParaRPr lang="en-US" dirty="0"/>
          </a:p>
        </p:txBody>
      </p:sp>
      <p:sp>
        <p:nvSpPr>
          <p:cNvPr id="7" name="Rectangle 6"/>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5"/>
          <p:cNvSpPr txBox="1">
            <a:spLocks/>
          </p:cNvSpPr>
          <p:nvPr/>
        </p:nvSpPr>
        <p:spPr>
          <a:xfrm>
            <a:off x="360000" y="1927472"/>
            <a:ext cx="7549520" cy="1944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sz="2800" dirty="0" smtClean="0">
                <a:solidFill>
                  <a:srgbClr val="002776"/>
                </a:solidFill>
              </a:rPr>
              <a:t>Zbycie </a:t>
            </a:r>
            <a:r>
              <a:rPr lang="pl-PL" sz="2800" dirty="0">
                <a:solidFill>
                  <a:srgbClr val="002776"/>
                </a:solidFill>
              </a:rPr>
              <a:t>spółki </a:t>
            </a:r>
            <a:r>
              <a:rPr lang="pl-PL" sz="2800" dirty="0" smtClean="0">
                <a:solidFill>
                  <a:srgbClr val="002776"/>
                </a:solidFill>
              </a:rPr>
              <a:t>kapitałowej </a:t>
            </a:r>
            <a:r>
              <a:rPr lang="pl-PL" sz="2800" dirty="0">
                <a:solidFill>
                  <a:srgbClr val="002776"/>
                </a:solidFill>
              </a:rPr>
              <a:t>powstałej w wyniku przekształcenia spółki </a:t>
            </a:r>
            <a:r>
              <a:rPr lang="pl-PL" sz="2800" dirty="0" smtClean="0">
                <a:solidFill>
                  <a:srgbClr val="002776"/>
                </a:solidFill>
              </a:rPr>
              <a:t>osobowej – koszty uzyskania przychodów </a:t>
            </a:r>
          </a:p>
          <a:p>
            <a:pPr>
              <a:spcBef>
                <a:spcPts val="0"/>
              </a:spcBef>
              <a:spcAft>
                <a:spcPts val="600"/>
              </a:spcAft>
            </a:pPr>
            <a:endParaRPr lang="pl-PL" sz="2800" dirty="0" smtClean="0">
              <a:solidFill>
                <a:srgbClr val="002776"/>
              </a:solidFill>
            </a:endParaRPr>
          </a:p>
          <a:p>
            <a:pPr>
              <a:spcBef>
                <a:spcPts val="0"/>
              </a:spcBef>
              <a:spcAft>
                <a:spcPts val="600"/>
              </a:spcAft>
            </a:pPr>
            <a:r>
              <a:rPr lang="pl-PL" sz="2400" dirty="0" smtClean="0">
                <a:solidFill>
                  <a:srgbClr val="002776"/>
                </a:solidFill>
              </a:rPr>
              <a:t>Wyrok NSA z 8 września 2016 r</a:t>
            </a:r>
            <a:r>
              <a:rPr lang="pl-PL" sz="2400" dirty="0">
                <a:solidFill>
                  <a:srgbClr val="002776"/>
                </a:solidFill>
              </a:rPr>
              <a:t>., II FSK </a:t>
            </a:r>
            <a:r>
              <a:rPr lang="pl-PL" sz="2400" dirty="0" smtClean="0">
                <a:solidFill>
                  <a:srgbClr val="002776"/>
                </a:solidFill>
              </a:rPr>
              <a:t>2260/14</a:t>
            </a:r>
            <a:endParaRPr lang="pl-PL" sz="2400" dirty="0">
              <a:solidFill>
                <a:srgbClr val="002776"/>
              </a:solidFill>
            </a:endParaRPr>
          </a:p>
          <a:p>
            <a:pPr>
              <a:spcBef>
                <a:spcPts val="0"/>
              </a:spcBef>
              <a:spcAft>
                <a:spcPts val="600"/>
              </a:spcAft>
            </a:pPr>
            <a:r>
              <a:rPr lang="pl-PL" sz="2800" dirty="0" smtClean="0">
                <a:solidFill>
                  <a:srgbClr val="81BC00"/>
                </a:solidFill>
                <a:latin typeface="Arial"/>
              </a:rPr>
              <a:t>Adam Wacławczyk</a:t>
            </a:r>
            <a:endParaRPr lang="en-US" sz="2800" dirty="0">
              <a:solidFill>
                <a:srgbClr val="81BC00"/>
              </a:solidFill>
              <a:latin typeface="Arial"/>
            </a:endParaRPr>
          </a:p>
        </p:txBody>
      </p:sp>
      <p:sp>
        <p:nvSpPr>
          <p:cNvPr id="16" name="Text Placeholder 5"/>
          <p:cNvSpPr txBox="1">
            <a:spLocks/>
          </p:cNvSpPr>
          <p:nvPr/>
        </p:nvSpPr>
        <p:spPr>
          <a:xfrm>
            <a:off x="349280" y="4426280"/>
            <a:ext cx="5400000" cy="180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dirty="0" smtClean="0">
                <a:solidFill>
                  <a:srgbClr val="575757"/>
                </a:solidFill>
                <a:latin typeface="Arial"/>
              </a:rPr>
              <a:t>Toruń, 30 marca 2016 r.</a:t>
            </a:r>
            <a:endParaRPr lang="en-US" dirty="0">
              <a:solidFill>
                <a:srgbClr val="575757"/>
              </a:solidFill>
              <a:latin typeface="Aria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1306" y="3679894"/>
            <a:ext cx="4692603" cy="3128402"/>
          </a:xfrm>
          <a:prstGeom prst="rect">
            <a:avLst/>
          </a:prstGeom>
        </p:spPr>
      </p:pic>
    </p:spTree>
    <p:extLst>
      <p:ext uri="{BB962C8B-B14F-4D97-AF65-F5344CB8AC3E}">
        <p14:creationId xmlns:p14="http://schemas.microsoft.com/office/powerpoint/2010/main" val="75936249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700" b="0" dirty="0">
                <a:solidFill>
                  <a:srgbClr val="92D400"/>
                </a:solidFill>
              </a:rPr>
              <a:t>Wykładnia gospodarcza art. 22 i 23 ust. 1 pkt 38 ustawy o PDOF</a:t>
            </a:r>
            <a:r>
              <a:rPr lang="pl-PL" sz="3200" dirty="0" smtClean="0"/>
              <a:t/>
            </a:r>
            <a:br>
              <a:rPr lang="pl-PL" sz="3200" dirty="0" smtClean="0"/>
            </a:br>
            <a:r>
              <a:rPr lang="pl-PL" sz="2200" b="0" dirty="0">
                <a:solidFill>
                  <a:srgbClr val="002776"/>
                </a:solidFill>
              </a:rPr>
              <a:t>Prz</a:t>
            </a:r>
            <a:r>
              <a:rPr lang="pl-PL" sz="2200" b="0" dirty="0" smtClean="0">
                <a:solidFill>
                  <a:srgbClr val="002776"/>
                </a:solidFill>
              </a:rPr>
              <a:t>ykłady praktyczne z perspektywy adekwatności obciążenia podatkowego </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10</a:t>
            </a:fld>
            <a:endParaRPr lang="en-GB" dirty="0">
              <a:solidFill>
                <a:srgbClr val="FFFFFF">
                  <a:lumMod val="65000"/>
                </a:srgbClr>
              </a:solidFill>
            </a:endParaRPr>
          </a:p>
        </p:txBody>
      </p:sp>
      <p:sp>
        <p:nvSpPr>
          <p:cNvPr id="10" name="Rectangle 9"/>
          <p:cNvSpPr/>
          <p:nvPr/>
        </p:nvSpPr>
        <p:spPr>
          <a:xfrm>
            <a:off x="1041217" y="1350538"/>
            <a:ext cx="3268944" cy="532183"/>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smtClean="0">
                <a:solidFill>
                  <a:srgbClr val="FFFFFF"/>
                </a:solidFill>
                <a:cs typeface="Arial" panose="020B0604020202020204" pitchFamily="34" charset="0"/>
              </a:rPr>
              <a:t>Wartość aktywów wniesionych w formie wkładu do spółki osobowej</a:t>
            </a:r>
            <a:endParaRPr lang="pl-PL" sz="1400" b="1" dirty="0">
              <a:solidFill>
                <a:srgbClr val="FFFFFF"/>
              </a:solidFill>
              <a:cs typeface="Arial" panose="020B0604020202020204" pitchFamily="34" charset="0"/>
            </a:endParaRPr>
          </a:p>
        </p:txBody>
      </p:sp>
      <p:sp>
        <p:nvSpPr>
          <p:cNvPr id="11" name="Rectangle 10"/>
          <p:cNvSpPr/>
          <p:nvPr/>
        </p:nvSpPr>
        <p:spPr>
          <a:xfrm>
            <a:off x="564704" y="1882721"/>
            <a:ext cx="4248470" cy="495580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smtClean="0">
                <a:solidFill>
                  <a:srgbClr val="000000"/>
                </a:solidFill>
              </a:rPr>
              <a:t>Dane </a:t>
            </a:r>
            <a:r>
              <a:rPr lang="pl-PL" sz="1800" dirty="0">
                <a:solidFill>
                  <a:srgbClr val="000000"/>
                </a:solidFill>
              </a:rPr>
              <a:t>finansowe:</a:t>
            </a:r>
          </a:p>
          <a:p>
            <a:pPr marL="285750" indent="-285750" algn="just">
              <a:buFont typeface="Wingdings" panose="05000000000000000000" pitchFamily="2" charset="2"/>
              <a:buChar char="Ø"/>
            </a:pPr>
            <a:r>
              <a:rPr lang="pl-PL" sz="1800" dirty="0">
                <a:solidFill>
                  <a:srgbClr val="000000"/>
                </a:solidFill>
              </a:rPr>
              <a:t>Wkład do spółki </a:t>
            </a:r>
            <a:r>
              <a:rPr lang="pl-PL" sz="1800" dirty="0" smtClean="0">
                <a:solidFill>
                  <a:srgbClr val="000000"/>
                </a:solidFill>
              </a:rPr>
              <a:t>jawnej (wartość historyczna nieruchomości): </a:t>
            </a:r>
            <a:r>
              <a:rPr lang="pl-PL" sz="1800" dirty="0">
                <a:solidFill>
                  <a:srgbClr val="000000"/>
                </a:solidFill>
              </a:rPr>
              <a:t>100</a:t>
            </a:r>
          </a:p>
          <a:p>
            <a:pPr marL="285750" indent="-285750" algn="just">
              <a:buFont typeface="Wingdings" panose="05000000000000000000" pitchFamily="2" charset="2"/>
              <a:buChar char="Ø"/>
            </a:pPr>
            <a:r>
              <a:rPr lang="pl-PL" sz="1800" dirty="0">
                <a:solidFill>
                  <a:srgbClr val="000000"/>
                </a:solidFill>
              </a:rPr>
              <a:t>Wkład do spółki jawnej (wartość </a:t>
            </a:r>
            <a:r>
              <a:rPr lang="pl-PL" sz="1800" dirty="0" smtClean="0">
                <a:solidFill>
                  <a:srgbClr val="000000"/>
                </a:solidFill>
              </a:rPr>
              <a:t>rynkowa na dzień aportu): 1.100</a:t>
            </a:r>
            <a:endParaRPr lang="pl-PL" sz="1800" dirty="0">
              <a:solidFill>
                <a:srgbClr val="000000"/>
              </a:solidFill>
            </a:endParaRPr>
          </a:p>
          <a:p>
            <a:pPr marL="285750" indent="-285750" algn="just">
              <a:buFont typeface="Wingdings" panose="05000000000000000000" pitchFamily="2" charset="2"/>
              <a:buChar char="Ø"/>
            </a:pPr>
            <a:r>
              <a:rPr lang="pl-PL" sz="1800" dirty="0" smtClean="0">
                <a:solidFill>
                  <a:srgbClr val="000000"/>
                </a:solidFill>
              </a:rPr>
              <a:t>Wartość </a:t>
            </a:r>
            <a:r>
              <a:rPr lang="pl-PL" sz="1800" dirty="0">
                <a:solidFill>
                  <a:srgbClr val="000000"/>
                </a:solidFill>
              </a:rPr>
              <a:t>bilansowa: </a:t>
            </a:r>
            <a:r>
              <a:rPr lang="pl-PL" sz="1800" dirty="0" smtClean="0">
                <a:solidFill>
                  <a:srgbClr val="000000"/>
                </a:solidFill>
              </a:rPr>
              <a:t>1.100</a:t>
            </a:r>
            <a:endParaRPr lang="pl-PL" sz="1800" dirty="0">
              <a:solidFill>
                <a:srgbClr val="000000"/>
              </a:solidFill>
            </a:endParaRPr>
          </a:p>
          <a:p>
            <a:pPr marL="285750" indent="-285750" algn="just">
              <a:buFont typeface="Wingdings" panose="05000000000000000000" pitchFamily="2" charset="2"/>
              <a:buChar char="Ø"/>
            </a:pPr>
            <a:r>
              <a:rPr lang="pl-PL" sz="1800" dirty="0">
                <a:solidFill>
                  <a:srgbClr val="000000"/>
                </a:solidFill>
              </a:rPr>
              <a:t>Cena na moment sprzedaży sp. z o.o.: </a:t>
            </a:r>
            <a:r>
              <a:rPr lang="pl-PL" sz="1800" dirty="0" smtClean="0">
                <a:solidFill>
                  <a:srgbClr val="000000"/>
                </a:solidFill>
              </a:rPr>
              <a:t>1.100</a:t>
            </a:r>
            <a:endParaRPr lang="pl-PL" sz="1800" dirty="0">
              <a:solidFill>
                <a:srgbClr val="000000"/>
              </a:solidFill>
            </a:endParaRPr>
          </a:p>
          <a:p>
            <a:pPr algn="just"/>
            <a:endParaRPr lang="pl-PL" sz="1800" dirty="0">
              <a:solidFill>
                <a:srgbClr val="000000"/>
              </a:solidFill>
            </a:endParaRPr>
          </a:p>
          <a:p>
            <a:pPr algn="just"/>
            <a:r>
              <a:rPr lang="pl-PL" sz="1800" dirty="0">
                <a:solidFill>
                  <a:srgbClr val="000000"/>
                </a:solidFill>
              </a:rPr>
              <a:t>Podatek na moment sprzedaży (wersja I): 19% x (</a:t>
            </a:r>
            <a:r>
              <a:rPr lang="pl-PL" sz="1800" dirty="0" smtClean="0">
                <a:solidFill>
                  <a:srgbClr val="000000"/>
                </a:solidFill>
              </a:rPr>
              <a:t>1100-1100) </a:t>
            </a:r>
            <a:r>
              <a:rPr lang="pl-PL" sz="1800" b="1" dirty="0">
                <a:solidFill>
                  <a:srgbClr val="000000"/>
                </a:solidFill>
              </a:rPr>
              <a:t>= </a:t>
            </a:r>
            <a:r>
              <a:rPr lang="pl-PL" sz="1800" b="1" dirty="0" smtClean="0">
                <a:solidFill>
                  <a:srgbClr val="000000"/>
                </a:solidFill>
              </a:rPr>
              <a:t>0</a:t>
            </a:r>
            <a:endParaRPr lang="pl-PL" sz="1800" b="1" dirty="0">
              <a:solidFill>
                <a:srgbClr val="000000"/>
              </a:solidFill>
            </a:endParaRPr>
          </a:p>
          <a:p>
            <a:pPr algn="just"/>
            <a:r>
              <a:rPr lang="pl-PL" sz="1800" dirty="0">
                <a:solidFill>
                  <a:srgbClr val="000000"/>
                </a:solidFill>
              </a:rPr>
              <a:t>Podatek (wersja II): 19% x (</a:t>
            </a:r>
            <a:r>
              <a:rPr lang="pl-PL" sz="1800" dirty="0" smtClean="0">
                <a:solidFill>
                  <a:srgbClr val="000000"/>
                </a:solidFill>
              </a:rPr>
              <a:t>1100-100</a:t>
            </a:r>
            <a:r>
              <a:rPr lang="pl-PL" sz="1800" dirty="0">
                <a:solidFill>
                  <a:srgbClr val="000000"/>
                </a:solidFill>
              </a:rPr>
              <a:t>) = </a:t>
            </a:r>
            <a:r>
              <a:rPr lang="pl-PL" sz="1800" b="1" dirty="0" smtClean="0">
                <a:solidFill>
                  <a:srgbClr val="000000"/>
                </a:solidFill>
              </a:rPr>
              <a:t>190</a:t>
            </a:r>
            <a:endParaRPr lang="pl-PL" sz="1800" b="1" dirty="0">
              <a:solidFill>
                <a:srgbClr val="000000"/>
              </a:solidFill>
            </a:endParaRPr>
          </a:p>
          <a:p>
            <a:pPr algn="just"/>
            <a:endParaRPr lang="pl-PL" sz="1800" b="1" dirty="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65488529"/>
              </p:ext>
            </p:extLst>
          </p:nvPr>
        </p:nvGraphicFramePr>
        <p:xfrm>
          <a:off x="5821286" y="1683218"/>
          <a:ext cx="2901258" cy="4219203"/>
        </p:xfrm>
        <a:graphic>
          <a:graphicData uri="http://schemas.openxmlformats.org/drawingml/2006/table">
            <a:tbl>
              <a:tblPr/>
              <a:tblGrid>
                <a:gridCol w="967086"/>
                <a:gridCol w="967086"/>
                <a:gridCol w="967086"/>
              </a:tblGrid>
              <a:tr h="296332">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a:solidFill>
                            <a:srgbClr val="000000"/>
                          </a:solidFill>
                          <a:effectLst/>
                          <a:latin typeface="Calibri" panose="020F0502020204030204" pitchFamily="34" charset="0"/>
                        </a:rPr>
                        <a:t>wyników</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1 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1 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310443">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1" i="0" u="none" strike="noStrike" dirty="0">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6332">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310443">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96332">
                <a:tc gridSpan="3">
                  <a:txBody>
                    <a:bodyPr/>
                    <a:lstStyle/>
                    <a:p>
                      <a:pPr algn="ctr" fontAlgn="b"/>
                      <a:r>
                        <a:rPr lang="en-AU" sz="1600" b="1" i="0" u="none" strike="noStrike">
                          <a:solidFill>
                            <a:srgbClr val="000000"/>
                          </a:solidFill>
                          <a:effectLst/>
                          <a:latin typeface="Calibri" panose="020F0502020204030204" pitchFamily="34" charset="0"/>
                        </a:rPr>
                        <a:t>Rachunek wynikó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 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96332">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 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310443">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2">
                  <a:txBody>
                    <a:bodyPr/>
                    <a:lstStyle/>
                    <a:p>
                      <a:pPr algn="ctr" fontAlgn="b"/>
                      <a:r>
                        <a:rPr lang="en-AU" sz="1600" b="1" i="0" u="none" strike="noStrike" dirty="0">
                          <a:solidFill>
                            <a:srgbClr val="000000"/>
                          </a:solidFill>
                          <a:effectLst/>
                          <a:latin typeface="Calibri" panose="020F0502020204030204" pitchFamily="34" charset="0"/>
                        </a:rPr>
                        <a:t>19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pl-PL"/>
                    </a:p>
                  </a:txBody>
                  <a:tcPr/>
                </a:tc>
              </a:tr>
              <a:tr h="310443">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310443">
                <a:tc>
                  <a:txBody>
                    <a:bodyPr/>
                    <a:lstStyle/>
                    <a:p>
                      <a:pPr algn="l" fontAlgn="b"/>
                      <a:r>
                        <a:rPr lang="en-AU" sz="1600" b="1" i="0" u="none" strike="noStrike">
                          <a:solidFill>
                            <a:srgbClr val="000000"/>
                          </a:solidFill>
                          <a:effectLst/>
                          <a:latin typeface="Calibri" panose="020F0502020204030204" pitchFamily="34" charset="0"/>
                        </a:rPr>
                        <a:t>Różnica</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AU" sz="1600" b="1" i="0" u="none" strike="noStrike">
                          <a:solidFill>
                            <a:srgbClr val="000000"/>
                          </a:solidFill>
                          <a:effectLst/>
                          <a:latin typeface="Calibri" panose="020F0502020204030204" pitchFamily="34" charset="0"/>
                        </a:rPr>
                        <a:t>190</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spTree>
    <p:extLst>
      <p:ext uri="{BB962C8B-B14F-4D97-AF65-F5344CB8AC3E}">
        <p14:creationId xmlns:p14="http://schemas.microsoft.com/office/powerpoint/2010/main" val="94931477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700" b="0" dirty="0">
                <a:solidFill>
                  <a:srgbClr val="92D400"/>
                </a:solidFill>
              </a:rPr>
              <a:t>Wykładnia gospodarcza art. 22 i 23 ust. 1 pkt 38 ustawy o PDOF</a:t>
            </a:r>
            <a:r>
              <a:rPr lang="pl-PL" sz="3200" dirty="0" smtClean="0"/>
              <a:t/>
            </a:r>
            <a:br>
              <a:rPr lang="pl-PL" sz="3200" dirty="0" smtClean="0"/>
            </a:br>
            <a:r>
              <a:rPr lang="pl-PL" sz="2200" b="0" dirty="0">
                <a:solidFill>
                  <a:srgbClr val="002776"/>
                </a:solidFill>
              </a:rPr>
              <a:t>Prz</a:t>
            </a:r>
            <a:r>
              <a:rPr lang="pl-PL" sz="2200" b="0" dirty="0" smtClean="0">
                <a:solidFill>
                  <a:srgbClr val="002776"/>
                </a:solidFill>
              </a:rPr>
              <a:t>ykłady praktyczne z perspektywy adekwatności obciążenia podatkowego </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11</a:t>
            </a:fld>
            <a:endParaRPr lang="en-GB" dirty="0">
              <a:solidFill>
                <a:srgbClr val="FFFFFF">
                  <a:lumMod val="65000"/>
                </a:srgbClr>
              </a:solidFill>
            </a:endParaRPr>
          </a:p>
        </p:txBody>
      </p:sp>
      <p:grpSp>
        <p:nvGrpSpPr>
          <p:cNvPr id="4" name="Group 3"/>
          <p:cNvGrpSpPr/>
          <p:nvPr/>
        </p:nvGrpSpPr>
        <p:grpSpPr>
          <a:xfrm>
            <a:off x="636714" y="1350501"/>
            <a:ext cx="4421072" cy="5487987"/>
            <a:chOff x="740474" y="4915047"/>
            <a:chExt cx="2645982" cy="395092"/>
          </a:xfrm>
        </p:grpSpPr>
        <p:sp>
          <p:nvSpPr>
            <p:cNvPr id="8" name="Rectangle 7"/>
            <p:cNvSpPr/>
            <p:nvPr/>
          </p:nvSpPr>
          <p:spPr>
            <a:xfrm>
              <a:off x="1068760" y="4915047"/>
              <a:ext cx="1956441" cy="38313"/>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smtClean="0">
                  <a:solidFill>
                    <a:srgbClr val="FFFFFF"/>
                  </a:solidFill>
                  <a:cs typeface="Arial" panose="020B0604020202020204" pitchFamily="34" charset="0"/>
                </a:rPr>
                <a:t>Wejście w prawa i obowiązki wspólnika spółki jawnej</a:t>
              </a:r>
              <a:endParaRPr lang="pl-PL" sz="1400" b="1" dirty="0">
                <a:solidFill>
                  <a:srgbClr val="FFFFFF"/>
                </a:solidFill>
                <a:cs typeface="Arial" panose="020B0604020202020204" pitchFamily="34" charset="0"/>
              </a:endParaRPr>
            </a:p>
          </p:txBody>
        </p:sp>
        <p:sp>
          <p:nvSpPr>
            <p:cNvPr id="9" name="Rectangle 8"/>
            <p:cNvSpPr/>
            <p:nvPr/>
          </p:nvSpPr>
          <p:spPr>
            <a:xfrm>
              <a:off x="740474" y="4953360"/>
              <a:ext cx="2645982"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smtClean="0">
                  <a:solidFill>
                    <a:srgbClr val="000000"/>
                  </a:solidFill>
                </a:rPr>
                <a:t>Dane finansowe:</a:t>
              </a:r>
            </a:p>
            <a:p>
              <a:pPr marL="285750" indent="-285750" algn="just">
                <a:buFont typeface="Wingdings" panose="05000000000000000000" pitchFamily="2" charset="2"/>
                <a:buChar char="Ø"/>
              </a:pPr>
              <a:r>
                <a:rPr lang="pl-PL" sz="1800" dirty="0" smtClean="0">
                  <a:solidFill>
                    <a:srgbClr val="000000"/>
                  </a:solidFill>
                </a:rPr>
                <a:t>Wkład do spółki jawnej poprzedniego wspólnika: 100</a:t>
              </a:r>
            </a:p>
            <a:p>
              <a:pPr marL="285750" indent="-285750" algn="just">
                <a:buFont typeface="Wingdings" panose="05000000000000000000" pitchFamily="2" charset="2"/>
                <a:buChar char="Ø"/>
              </a:pPr>
              <a:r>
                <a:rPr lang="pl-PL" sz="1800" dirty="0" smtClean="0">
                  <a:solidFill>
                    <a:srgbClr val="000000"/>
                  </a:solidFill>
                </a:rPr>
                <a:t>Cena z tytułu „nabycia wkładu w spółce jawnej” (wydatek zbywającego udziały): 1.000</a:t>
              </a:r>
            </a:p>
            <a:p>
              <a:pPr marL="285750" indent="-285750" algn="just">
                <a:buFont typeface="Wingdings" panose="05000000000000000000" pitchFamily="2" charset="2"/>
                <a:buChar char="Ø"/>
              </a:pPr>
              <a:r>
                <a:rPr lang="pl-PL" sz="1800" dirty="0" smtClean="0">
                  <a:solidFill>
                    <a:srgbClr val="000000"/>
                  </a:solidFill>
                </a:rPr>
                <a:t>Wartość bilansowa: </a:t>
              </a:r>
              <a:r>
                <a:rPr lang="pl-PL" sz="1800" dirty="0">
                  <a:solidFill>
                    <a:srgbClr val="000000"/>
                  </a:solidFill>
                </a:rPr>
                <a:t>7</a:t>
              </a:r>
              <a:r>
                <a:rPr lang="pl-PL" sz="1800" dirty="0" smtClean="0">
                  <a:solidFill>
                    <a:srgbClr val="000000"/>
                  </a:solidFill>
                </a:rPr>
                <a:t>00</a:t>
              </a:r>
            </a:p>
            <a:p>
              <a:pPr marL="285750" indent="-285750" algn="just">
                <a:buFont typeface="Wingdings" panose="05000000000000000000" pitchFamily="2" charset="2"/>
                <a:buChar char="Ø"/>
              </a:pPr>
              <a:r>
                <a:rPr lang="pl-PL" sz="1800" dirty="0" smtClean="0">
                  <a:solidFill>
                    <a:srgbClr val="000000"/>
                  </a:solidFill>
                </a:rPr>
                <a:t>Cena na moment sprzedaży sp. z o.o.: 700</a:t>
              </a:r>
            </a:p>
            <a:p>
              <a:pPr algn="just"/>
              <a:endParaRPr lang="pl-PL" sz="1800" dirty="0" smtClean="0">
                <a:solidFill>
                  <a:srgbClr val="000000"/>
                </a:solidFill>
              </a:endParaRPr>
            </a:p>
            <a:p>
              <a:pPr algn="just"/>
              <a:r>
                <a:rPr lang="pl-PL" sz="1800" dirty="0" smtClean="0">
                  <a:solidFill>
                    <a:srgbClr val="000000"/>
                  </a:solidFill>
                </a:rPr>
                <a:t>Podatek na moment </a:t>
              </a:r>
              <a:r>
                <a:rPr lang="pl-PL" sz="1800" dirty="0">
                  <a:solidFill>
                    <a:srgbClr val="000000"/>
                  </a:solidFill>
                </a:rPr>
                <a:t>sprzedaży (wersja </a:t>
              </a:r>
              <a:r>
                <a:rPr lang="pl-PL" sz="1800" dirty="0" smtClean="0">
                  <a:solidFill>
                    <a:srgbClr val="000000"/>
                  </a:solidFill>
                </a:rPr>
                <a:t>I</a:t>
              </a:r>
              <a:r>
                <a:rPr lang="pl-PL" sz="1800" dirty="0">
                  <a:solidFill>
                    <a:srgbClr val="000000"/>
                  </a:solidFill>
                </a:rPr>
                <a:t>): 19% x </a:t>
              </a:r>
              <a:r>
                <a:rPr lang="pl-PL" sz="1800" dirty="0" smtClean="0">
                  <a:solidFill>
                    <a:srgbClr val="000000"/>
                  </a:solidFill>
                </a:rPr>
                <a:t>(700-700) </a:t>
              </a:r>
              <a:r>
                <a:rPr lang="pl-PL" sz="1800" b="1" dirty="0">
                  <a:solidFill>
                    <a:srgbClr val="000000"/>
                  </a:solidFill>
                </a:rPr>
                <a:t>= 0</a:t>
              </a:r>
              <a:r>
                <a:rPr lang="pl-PL" sz="1800" b="1" dirty="0" smtClean="0">
                  <a:solidFill>
                    <a:srgbClr val="000000"/>
                  </a:solidFill>
                </a:rPr>
                <a:t> </a:t>
              </a:r>
            </a:p>
            <a:p>
              <a:pPr algn="just"/>
              <a:r>
                <a:rPr lang="pl-PL" sz="1800" dirty="0" smtClean="0">
                  <a:solidFill>
                    <a:srgbClr val="000000"/>
                  </a:solidFill>
                </a:rPr>
                <a:t>Podatek (wersja II): 19% x (700-100) </a:t>
              </a:r>
              <a:r>
                <a:rPr lang="pl-PL" sz="1800" b="1" dirty="0" smtClean="0">
                  <a:solidFill>
                    <a:srgbClr val="000000"/>
                  </a:solidFill>
                </a:rPr>
                <a:t>=</a:t>
              </a:r>
              <a:r>
                <a:rPr lang="pl-PL" sz="1800" dirty="0" smtClean="0">
                  <a:solidFill>
                    <a:srgbClr val="000000"/>
                  </a:solidFill>
                </a:rPr>
                <a:t> </a:t>
              </a:r>
              <a:r>
                <a:rPr lang="pl-PL" sz="1800" b="1" dirty="0" smtClean="0">
                  <a:solidFill>
                    <a:srgbClr val="000000"/>
                  </a:solidFill>
                </a:rPr>
                <a:t>114</a:t>
              </a:r>
            </a:p>
            <a:p>
              <a:pPr algn="just"/>
              <a:r>
                <a:rPr lang="pl-PL" sz="1800" dirty="0" smtClean="0">
                  <a:solidFill>
                    <a:srgbClr val="000000"/>
                  </a:solidFill>
                </a:rPr>
                <a:t>Podatek (wersja podatnika): (700 – 1000) =  </a:t>
              </a:r>
              <a:r>
                <a:rPr lang="pl-PL" sz="1800" b="1" dirty="0" smtClean="0">
                  <a:solidFill>
                    <a:srgbClr val="FF0000"/>
                  </a:solidFill>
                </a:rPr>
                <a:t>- 300 (strata)</a:t>
              </a:r>
              <a:endParaRPr lang="pl-PL" sz="1800" b="1" dirty="0">
                <a:solidFill>
                  <a:srgbClr val="FF0000"/>
                </a:solidFill>
              </a:endParaRPr>
            </a:p>
            <a:p>
              <a:pPr algn="just"/>
              <a:endParaRPr lang="pl-PL" sz="1800" b="1" dirty="0">
                <a:solidFill>
                  <a:srgbClr val="000000"/>
                </a:solidFill>
              </a:endParaRPr>
            </a:p>
          </p:txBody>
        </p:sp>
      </p:grpSp>
      <p:graphicFrame>
        <p:nvGraphicFramePr>
          <p:cNvPr id="5" name="Table 4"/>
          <p:cNvGraphicFramePr>
            <a:graphicFrameLocks noGrp="1"/>
          </p:cNvGraphicFramePr>
          <p:nvPr>
            <p:extLst>
              <p:ext uri="{D42A27DB-BD31-4B8C-83A1-F6EECF244321}">
                <p14:modId xmlns:p14="http://schemas.microsoft.com/office/powerpoint/2010/main" val="3077994128"/>
              </p:ext>
            </p:extLst>
          </p:nvPr>
        </p:nvGraphicFramePr>
        <p:xfrm>
          <a:off x="5821288" y="2072610"/>
          <a:ext cx="2901258" cy="3973830"/>
        </p:xfrm>
        <a:graphic>
          <a:graphicData uri="http://schemas.openxmlformats.org/drawingml/2006/table">
            <a:tbl>
              <a:tblPr/>
              <a:tblGrid>
                <a:gridCol w="967086"/>
                <a:gridCol w="967086"/>
                <a:gridCol w="967086"/>
              </a:tblGrid>
              <a:tr h="268043">
                <a:tc gridSpan="3">
                  <a:txBody>
                    <a:bodyPr/>
                    <a:lstStyle/>
                    <a:p>
                      <a:pPr algn="ctr" fontAlgn="b"/>
                      <a:r>
                        <a:rPr lang="en-AU" sz="1800" b="1" i="0" u="none" strike="noStrike" dirty="0" err="1">
                          <a:solidFill>
                            <a:srgbClr val="000000"/>
                          </a:solidFill>
                          <a:effectLst/>
                          <a:latin typeface="Calibri" panose="020F0502020204030204" pitchFamily="34" charset="0"/>
                        </a:rPr>
                        <a:t>Rachunek</a:t>
                      </a:r>
                      <a:r>
                        <a:rPr lang="en-AU" sz="1800" b="1" i="0" u="none" strike="noStrike" dirty="0">
                          <a:solidFill>
                            <a:srgbClr val="000000"/>
                          </a:solidFill>
                          <a:effectLst/>
                          <a:latin typeface="Calibri" panose="020F0502020204030204" pitchFamily="34" charset="0"/>
                        </a:rPr>
                        <a:t> </a:t>
                      </a:r>
                      <a:r>
                        <a:rPr lang="en-AU" sz="1800" b="1" i="0" u="none" strike="noStrike" dirty="0" err="1">
                          <a:solidFill>
                            <a:srgbClr val="000000"/>
                          </a:solidFill>
                          <a:effectLst/>
                          <a:latin typeface="Calibri" panose="020F0502020204030204" pitchFamily="34" charset="0"/>
                        </a:rPr>
                        <a:t>wyników</a:t>
                      </a:r>
                      <a:endParaRPr lang="en-AU" sz="18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800" b="0" i="0" u="none" strike="noStrike">
                          <a:solidFill>
                            <a:srgbClr val="000000"/>
                          </a:solidFill>
                          <a:effectLst/>
                          <a:latin typeface="Calibri" panose="020F0502020204030204" pitchFamily="34" charset="0"/>
                        </a:rPr>
                        <a:t>7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800" b="0" i="0" u="none" strike="noStrike">
                          <a:solidFill>
                            <a:srgbClr val="000000"/>
                          </a:solidFill>
                          <a:effectLst/>
                          <a:latin typeface="Calibri" panose="020F0502020204030204" pitchFamily="34" charset="0"/>
                        </a:rPr>
                        <a:t>7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800" b="0" i="0" u="none" strike="noStrike">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80807">
                <a:tc>
                  <a:txBody>
                    <a:bodyPr/>
                    <a:lstStyle/>
                    <a:p>
                      <a:pPr algn="l" fontAlgn="b"/>
                      <a:r>
                        <a:rPr lang="en-AU" sz="18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800" b="1" i="0" u="none" strike="noStrike" dirty="0">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68043">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280807">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68043">
                <a:tc gridSpan="3">
                  <a:txBody>
                    <a:bodyPr/>
                    <a:lstStyle/>
                    <a:p>
                      <a:pPr algn="ctr" fontAlgn="b"/>
                      <a:r>
                        <a:rPr lang="en-AU" sz="1800" b="1" i="0" u="none" strike="noStrike">
                          <a:solidFill>
                            <a:srgbClr val="000000"/>
                          </a:solidFill>
                          <a:effectLst/>
                          <a:latin typeface="Calibri" panose="020F0502020204030204" pitchFamily="34" charset="0"/>
                        </a:rPr>
                        <a:t>Rachunek wynikó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800" b="0" i="0" u="none" strike="noStrike">
                          <a:solidFill>
                            <a:srgbClr val="000000"/>
                          </a:solidFill>
                          <a:effectLst/>
                          <a:latin typeface="Calibri" panose="020F0502020204030204" pitchFamily="34" charset="0"/>
                        </a:rPr>
                        <a:t>7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800" b="0" i="0" u="none" strike="noStrike" dirty="0">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68043">
                <a:tc>
                  <a:txBody>
                    <a:bodyPr/>
                    <a:lstStyle/>
                    <a:p>
                      <a:pPr algn="l" fontAlgn="b"/>
                      <a:r>
                        <a:rPr lang="en-AU" sz="18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800" b="0" i="0" u="none" strike="noStrike" dirty="0">
                          <a:solidFill>
                            <a:srgbClr val="000000"/>
                          </a:solidFill>
                          <a:effectLst/>
                          <a:latin typeface="Calibri" panose="020F0502020204030204" pitchFamily="34" charset="0"/>
                        </a:rPr>
                        <a:t>6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80807">
                <a:tc>
                  <a:txBody>
                    <a:bodyPr/>
                    <a:lstStyle/>
                    <a:p>
                      <a:pPr algn="l" fontAlgn="b"/>
                      <a:r>
                        <a:rPr lang="en-AU" sz="18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2">
                  <a:txBody>
                    <a:bodyPr/>
                    <a:lstStyle/>
                    <a:p>
                      <a:pPr algn="ctr" fontAlgn="b"/>
                      <a:r>
                        <a:rPr lang="en-AU" sz="1800" b="1" i="0" u="none" strike="noStrike">
                          <a:solidFill>
                            <a:srgbClr val="000000"/>
                          </a:solidFill>
                          <a:effectLst/>
                          <a:latin typeface="Calibri" panose="020F0502020204030204" pitchFamily="34" charset="0"/>
                        </a:rPr>
                        <a:t>11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pl-PL"/>
                    </a:p>
                  </a:txBody>
                  <a:tcPr/>
                </a:tc>
              </a:tr>
              <a:tr h="280807">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8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280807">
                <a:tc>
                  <a:txBody>
                    <a:bodyPr/>
                    <a:lstStyle/>
                    <a:p>
                      <a:pPr algn="l" fontAlgn="b"/>
                      <a:r>
                        <a:rPr lang="en-AU" sz="1800" b="1" i="0" u="none" strike="noStrike">
                          <a:solidFill>
                            <a:srgbClr val="000000"/>
                          </a:solidFill>
                          <a:effectLst/>
                          <a:latin typeface="Calibri" panose="020F0502020204030204" pitchFamily="34" charset="0"/>
                        </a:rPr>
                        <a:t>Różnica</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AU" sz="1800" b="1" i="0" u="none" strike="noStrike">
                          <a:solidFill>
                            <a:srgbClr val="000000"/>
                          </a:solidFill>
                          <a:effectLst/>
                          <a:latin typeface="Calibri" panose="020F0502020204030204" pitchFamily="34" charset="0"/>
                        </a:rPr>
                        <a:t>114</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8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spTree>
    <p:extLst>
      <p:ext uri="{BB962C8B-B14F-4D97-AF65-F5344CB8AC3E}">
        <p14:creationId xmlns:p14="http://schemas.microsoft.com/office/powerpoint/2010/main" val="342523344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13862" y="4773549"/>
            <a:ext cx="8215737" cy="2459102"/>
          </a:xfrm>
        </p:spPr>
        <p:txBody>
          <a:bodyPr>
            <a:noAutofit/>
          </a:bodyPr>
          <a:lstStyle/>
          <a:p>
            <a:r>
              <a:rPr lang="pl-PL" dirty="0"/>
              <a:t>Nazwa Deloitte odnosi się do jednej lub kilku jednostek Deloitte </a:t>
            </a:r>
            <a:r>
              <a:rPr lang="pl-PL" dirty="0" err="1"/>
              <a:t>Touche</a:t>
            </a:r>
            <a:r>
              <a:rPr lang="pl-PL" dirty="0"/>
              <a:t> </a:t>
            </a:r>
            <a:r>
              <a:rPr lang="pl-PL" dirty="0" err="1"/>
              <a:t>Tohmatsu</a:t>
            </a:r>
            <a:r>
              <a:rPr lang="pl-PL" dirty="0"/>
              <a:t> Limited, prywatnego podmiotu prawa brytyjskiego z ograniczoną odpowiedzialnością i jego firm członkowskich, które stanowią oddzielne i niezależne podmioty prawne. Dokładny opis struktury prawnej Deloitte </a:t>
            </a:r>
            <a:r>
              <a:rPr lang="pl-PL" dirty="0" err="1"/>
              <a:t>Touche</a:t>
            </a:r>
            <a:r>
              <a:rPr lang="pl-PL" dirty="0"/>
              <a:t> </a:t>
            </a:r>
            <a:r>
              <a:rPr lang="pl-PL" dirty="0" err="1"/>
              <a:t>Tohmatsu</a:t>
            </a:r>
            <a:r>
              <a:rPr lang="pl-PL" dirty="0"/>
              <a:t> Limited oraz jego firm członkowskich można znaleźć na stronie </a:t>
            </a:r>
            <a:r>
              <a:rPr lang="pl-PL" u="sng" dirty="0">
                <a:hlinkClick r:id="rId3"/>
              </a:rPr>
              <a:t>www.deloitte.com/</a:t>
            </a:r>
            <a:r>
              <a:rPr lang="pl-PL" u="sng" dirty="0" err="1">
                <a:hlinkClick r:id="rId3"/>
              </a:rPr>
              <a:t>pl</a:t>
            </a:r>
            <a:r>
              <a:rPr lang="pl-PL" u="sng" dirty="0">
                <a:hlinkClick r:id="rId3"/>
              </a:rPr>
              <a:t>/</a:t>
            </a:r>
            <a:r>
              <a:rPr lang="pl-PL" u="sng" dirty="0" err="1">
                <a:hlinkClick r:id="rId3"/>
              </a:rPr>
              <a:t>onas</a:t>
            </a:r>
            <a:r>
              <a:rPr lang="pl-PL" dirty="0"/>
              <a:t>. </a:t>
            </a:r>
            <a:endParaRPr lang="en-US" dirty="0"/>
          </a:p>
          <a:p>
            <a:r>
              <a:rPr lang="pl-PL" dirty="0"/>
              <a:t>Deloitte świadczy usługi audytorskie, konsultingowe, doradztwa podatkowego i finansowego klientom z sektora publicznego oraz prywatnego, działającym w różnych branżach. Dzięki globalnej sieci firm członkowskich obejmującej 150 krajów oferujemy najwyższej klasy umiejętności, doświadczenie i wiedzę w połączeniu ze znajomością lokalnego rynku. Pomagamy klientom odnieść sukces niezależnie od miejsca i branży, w jakiej działają. Ponad 225 000 pracowników Deloitte na świecie realizuje misję firmy: wywierać pozytywny wpływ na środowisko i otoczenie, w którym żyją i pracują. </a:t>
            </a:r>
            <a:endParaRPr lang="en-US" dirty="0"/>
          </a:p>
          <a:p>
            <a:r>
              <a:rPr lang="pl-PL" dirty="0"/>
              <a:t>Deloitte Central Europe to regionalna jednostka działająca w ramach Deloitte Central Europe Holdings Limited, członka Deloitte </a:t>
            </a:r>
            <a:r>
              <a:rPr lang="pl-PL" dirty="0" err="1"/>
              <a:t>Touche</a:t>
            </a:r>
            <a:r>
              <a:rPr lang="pl-PL" dirty="0"/>
              <a:t> </a:t>
            </a:r>
            <a:r>
              <a:rPr lang="pl-PL" dirty="0" err="1"/>
              <a:t>Tohmatsu</a:t>
            </a:r>
            <a:r>
              <a:rPr lang="pl-PL" dirty="0"/>
              <a:t> Limited w Europie Środkowej. Usługi świadczą spółki zależne i stowarzyszone z Deloitte Central Europe Holdings Limited, które stanowią odrębne i niezależne podmioty prawne. Spółki zależne i stowarzyszone z Deloitte Central Europe Holdings Limited to jedne z wiodących firm świadczących usługi profesjonalne; zatrudniają łącznie ponad 5000 pracowników w 41 biurach w 17 krajach Europy Środkowej. </a:t>
            </a:r>
            <a:endParaRPr lang="en-US" dirty="0"/>
          </a:p>
          <a:p>
            <a:r>
              <a:rPr lang="en-US" noProof="0" dirty="0" smtClean="0"/>
              <a:t>© </a:t>
            </a:r>
            <a:r>
              <a:rPr lang="en-US" dirty="0" smtClean="0"/>
              <a:t>201</a:t>
            </a:r>
            <a:r>
              <a:rPr lang="pl-PL" dirty="0" smtClean="0"/>
              <a:t>7</a:t>
            </a:r>
            <a:r>
              <a:rPr lang="en-US" noProof="0" dirty="0" smtClean="0"/>
              <a:t> Deloitte </a:t>
            </a:r>
            <a:r>
              <a:rPr lang="en-US" noProof="0" dirty="0" err="1" smtClean="0"/>
              <a:t>Polska</a:t>
            </a:r>
            <a:r>
              <a:rPr lang="en-US" noProof="0" dirty="0" smtClean="0"/>
              <a:t>.</a:t>
            </a:r>
            <a:endParaRPr lang="en-US" noProof="0" dirty="0"/>
          </a:p>
        </p:txBody>
      </p:sp>
      <p:sp>
        <p:nvSpPr>
          <p:cNvPr id="4" name="Rectangle 3"/>
          <p:cNvSpPr/>
          <p:nvPr/>
        </p:nvSpPr>
        <p:spPr>
          <a:xfrm>
            <a:off x="413863" y="3022104"/>
            <a:ext cx="6750324" cy="1200329"/>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smtClean="0">
                <a:ln>
                  <a:noFill/>
                </a:ln>
                <a:solidFill>
                  <a:prstClr val="black"/>
                </a:solidFill>
                <a:effectLst/>
                <a:uLnTx/>
                <a:uFillTx/>
              </a:rPr>
              <a:t>Adam Wacławczyk</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hlinkClick r:id="rId4"/>
              </a:rPr>
              <a:t>awaclawczyk@deloittece.com</a:t>
            </a:r>
            <a:endParaRPr kumimoji="0" lang="pl-PL" sz="18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Tel. 695 668 437</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Doradca podatkowy nr 10148</a:t>
            </a:r>
            <a:endParaRPr kumimoji="0" lang="en-US" sz="1800" b="0" i="0" u="none" strike="noStrike" kern="0" cap="none" spc="0" normalizeH="0" baseline="0" noProof="0" dirty="0" smtClean="0">
              <a:ln>
                <a:noFill/>
              </a:ln>
              <a:solidFill>
                <a:prstClr val="black"/>
              </a:solidFill>
              <a:effectLst/>
              <a:uLnTx/>
              <a:uFillTx/>
            </a:endParaRPr>
          </a:p>
        </p:txBody>
      </p:sp>
      <p:pic>
        <p:nvPicPr>
          <p:cNvPr id="5" name="Picture 4"/>
          <p:cNvPicPr/>
          <p:nvPr/>
        </p:nvPicPr>
        <p:blipFill>
          <a:blip r:embed="rId5">
            <a:extLst>
              <a:ext uri="{28A0092B-C50C-407E-A947-70E740481C1C}">
                <a14:useLocalDpi xmlns:a14="http://schemas.microsoft.com/office/drawing/2010/main" val="0"/>
              </a:ext>
            </a:extLst>
          </a:blip>
          <a:srcRect/>
          <a:stretch>
            <a:fillRect/>
          </a:stretch>
        </p:blipFill>
        <p:spPr bwMode="auto">
          <a:xfrm>
            <a:off x="492696" y="1005880"/>
            <a:ext cx="1872208" cy="1944216"/>
          </a:xfrm>
          <a:prstGeom prst="rect">
            <a:avLst/>
          </a:prstGeom>
          <a:noFill/>
        </p:spPr>
      </p:pic>
    </p:spTree>
    <p:extLst>
      <p:ext uri="{BB962C8B-B14F-4D97-AF65-F5344CB8AC3E}">
        <p14:creationId xmlns:p14="http://schemas.microsoft.com/office/powerpoint/2010/main" val="54786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2260/14</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2" name="Footer Placeholder 1"/>
          <p:cNvSpPr>
            <a:spLocks noGrp="1"/>
          </p:cNvSpPr>
          <p:nvPr>
            <p:ph type="ftr" sz="quarter" idx="3"/>
          </p:nvPr>
        </p:nvSpPr>
        <p:spPr>
          <a:xfrm>
            <a:off x="404515" y="7365001"/>
            <a:ext cx="8315420" cy="285600"/>
          </a:xfrm>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2</a:t>
            </a:fld>
            <a:endParaRPr lang="en-GB" dirty="0">
              <a:solidFill>
                <a:srgbClr val="FFFFFF">
                  <a:lumMod val="65000"/>
                </a:srgbClr>
              </a:solidFill>
            </a:endParaRPr>
          </a:p>
        </p:txBody>
      </p:sp>
      <p:sp>
        <p:nvSpPr>
          <p:cNvPr id="77" name="Rectangle 76"/>
          <p:cNvSpPr/>
          <p:nvPr/>
        </p:nvSpPr>
        <p:spPr>
          <a:xfrm>
            <a:off x="3733056" y="1202344"/>
            <a:ext cx="5472608" cy="5632311"/>
          </a:xfrm>
          <a:prstGeom prst="rect">
            <a:avLst/>
          </a:prstGeom>
          <a:ln>
            <a:solidFill>
              <a:schemeClr val="tx2"/>
            </a:solidFill>
          </a:ln>
        </p:spPr>
        <p:txBody>
          <a:bodyPr wrap="square">
            <a:spAutoFit/>
          </a:bodyPr>
          <a:lstStyle/>
          <a:p>
            <a:pPr marL="285750" indent="-285750" algn="just" eaLnBrk="1" hangingPunct="1">
              <a:buFont typeface="Wingdings" panose="05000000000000000000" pitchFamily="2" charset="2"/>
              <a:buChar char="Ø"/>
            </a:pPr>
            <a:r>
              <a:rPr lang="pl-PL" sz="1800" dirty="0">
                <a:solidFill>
                  <a:srgbClr val="002776"/>
                </a:solidFill>
              </a:rPr>
              <a:t>Trzech dotychczasowych wspólników spółki jawnej stało się jedynymi udziałowcami spółki z o.o. Majątek spółki jawnej na dzień jej przekształcenia wynosił 103.329.719,21 zł (wartość wynikająca z bilansu na dzień zakończenia bytu prawnego spółki osobowej pomniejszona o zobowiązania przypadające na ten dzień) i stał się jednocześnie majątkiem przekształconej spółki z o.o. (wykazanym w bilansie otwarcia na dzień rozpoczęcia bytu prawnego spółki z o.o.). </a:t>
            </a:r>
            <a:endParaRPr lang="pl-PL" sz="1800" dirty="0" smtClean="0">
              <a:solidFill>
                <a:srgbClr val="002776"/>
              </a:solidFill>
            </a:endParaRPr>
          </a:p>
          <a:p>
            <a:pPr marL="285750" indent="-285750" algn="just" eaLnBrk="1" hangingPunct="1">
              <a:buFont typeface="Wingdings" panose="05000000000000000000" pitchFamily="2" charset="2"/>
              <a:buChar char="Ø"/>
            </a:pPr>
            <a:r>
              <a:rPr lang="pl-PL" sz="1800" dirty="0" smtClean="0">
                <a:solidFill>
                  <a:srgbClr val="002776"/>
                </a:solidFill>
              </a:rPr>
              <a:t>W </a:t>
            </a:r>
            <a:r>
              <a:rPr lang="pl-PL" sz="1800" dirty="0">
                <a:solidFill>
                  <a:srgbClr val="002776"/>
                </a:solidFill>
              </a:rPr>
              <a:t>wyniku przekształcenia każdy z udziałowców (w tym także skarżący) objął po 12.000 udziałów w spółce z o.o. o wartości nominalnej 1.000 zł każdy, tworząc łącznie kapitał zakładowy w wysokości 36.000.000 zł. Pozostała część majątku przekształconej spółki jawnej zaksięgowana została jako kapitał rezerwowy i zysk netto w bilansie otwarcia spółki z o.o.</a:t>
            </a:r>
            <a:endParaRPr lang="pl-PL" sz="1800" dirty="0" smtClean="0">
              <a:solidFill>
                <a:srgbClr val="002776"/>
              </a:solidFill>
            </a:endParaRPr>
          </a:p>
          <a:p>
            <a:pPr marL="285750" indent="-285750" algn="just" eaLnBrk="1" hangingPunct="1">
              <a:buFont typeface="Wingdings" panose="05000000000000000000" pitchFamily="2" charset="2"/>
              <a:buChar char="Ø"/>
            </a:pPr>
            <a:endParaRPr lang="pl-PL" sz="1800" dirty="0">
              <a:solidFill>
                <a:srgbClr val="002776"/>
              </a:solidFill>
            </a:endParaRPr>
          </a:p>
        </p:txBody>
      </p:sp>
      <p:grpSp>
        <p:nvGrpSpPr>
          <p:cNvPr id="86" name="Group 85"/>
          <p:cNvGrpSpPr/>
          <p:nvPr/>
        </p:nvGrpSpPr>
        <p:grpSpPr>
          <a:xfrm>
            <a:off x="505153" y="3156212"/>
            <a:ext cx="2435815" cy="2395348"/>
            <a:chOff x="1466849" y="4370892"/>
            <a:chExt cx="1818301"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endParaRPr lang="pl-PL" sz="1600" b="1" dirty="0" smtClean="0">
                <a:solidFill>
                  <a:schemeClr val="bg1"/>
                </a:solidFill>
                <a:latin typeface="Arial" panose="020B0604020202020204" pitchFamily="34" charset="0"/>
                <a:cs typeface="Arial" panose="020B0604020202020204" pitchFamily="34" charset="0"/>
              </a:endParaRPr>
            </a:p>
            <a:p>
              <a:pPr algn="ctr"/>
              <a:r>
                <a:rPr lang="pl-PL" sz="1600" b="1" dirty="0" smtClean="0">
                  <a:solidFill>
                    <a:srgbClr val="0070C0"/>
                  </a:solidFill>
                  <a:latin typeface="Arial" panose="020B0604020202020204" pitchFamily="34" charset="0"/>
                  <a:cs typeface="Arial" panose="020B0604020202020204" pitchFamily="34" charset="0"/>
                </a:rPr>
                <a:t>SPÓŁKA JAWNA przekształcona w</a:t>
              </a:r>
              <a:endParaRPr lang="pl-PL" sz="1600" b="1" dirty="0">
                <a:solidFill>
                  <a:srgbClr val="0070C0"/>
                </a:solidFill>
                <a:latin typeface="Arial" panose="020B0604020202020204" pitchFamily="34" charset="0"/>
                <a:cs typeface="Arial" panose="020B0604020202020204" pitchFamily="34" charset="0"/>
              </a:endParaRPr>
            </a:p>
            <a:p>
              <a:pPr algn="ctr"/>
              <a:r>
                <a:rPr lang="pl-PL" sz="1600" b="1" dirty="0" smtClean="0">
                  <a:solidFill>
                    <a:schemeClr val="bg1"/>
                  </a:solidFill>
                  <a:latin typeface="Arial" panose="020B0604020202020204" pitchFamily="34" charset="0"/>
                  <a:cs typeface="Arial" panose="020B0604020202020204" pitchFamily="34" charset="0"/>
                </a:rPr>
                <a:t>SPÓŁKA Z O.O.</a:t>
              </a:r>
              <a:endParaRPr lang="en-US" sz="1600" b="1" dirty="0">
                <a:solidFill>
                  <a:schemeClr val="bg1"/>
                </a:solidFill>
                <a:latin typeface="Arial" panose="020B0604020202020204" pitchFamily="34" charset="0"/>
                <a:cs typeface="Arial" panose="020B0604020202020204" pitchFamily="34" charset="0"/>
              </a:endParaRPr>
            </a:p>
          </p:txBody>
        </p:sp>
        <p:cxnSp>
          <p:nvCxnSpPr>
            <p:cNvPr id="92" name="Straight Arrow Connector 91"/>
            <p:cNvCxnSpPr>
              <a:endCxn id="88" idx="0"/>
            </p:cNvCxnSpPr>
            <p:nvPr/>
          </p:nvCxnSpPr>
          <p:spPr>
            <a:xfrm>
              <a:off x="2376000"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375999" y="4524795"/>
              <a:ext cx="776647"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b="1" dirty="0" smtClean="0">
                  <a:solidFill>
                    <a:srgbClr val="00A1DE"/>
                  </a:solidFill>
                  <a:latin typeface="Arial" panose="020B0604020202020204" pitchFamily="34" charset="0"/>
                  <a:cs typeface="Arial" panose="020B0604020202020204" pitchFamily="34" charset="0"/>
                </a:rPr>
                <a:t>100%</a:t>
              </a:r>
              <a:endParaRPr lang="pl-PL" b="1" dirty="0" smtClean="0">
                <a:solidFill>
                  <a:srgbClr val="00A1DE"/>
                </a:solidFill>
                <a:latin typeface="Arial" panose="020B0604020202020204" pitchFamily="34" charset="0"/>
                <a:cs typeface="Arial" panose="020B0604020202020204" pitchFamily="34" charset="0"/>
              </a:endParaRPr>
            </a:p>
            <a:p>
              <a:pPr algn="ctr"/>
              <a:r>
                <a:rPr lang="pl-PL" b="1" dirty="0" smtClean="0">
                  <a:solidFill>
                    <a:srgbClr val="00A1DE"/>
                  </a:solidFill>
                  <a:latin typeface="Arial" panose="020B0604020202020204" pitchFamily="34" charset="0"/>
                  <a:cs typeface="Arial" panose="020B0604020202020204" pitchFamily="34" charset="0"/>
                </a:rPr>
                <a:t>UDZIAŁÓW</a:t>
              </a:r>
              <a:endParaRPr lang="en-US" b="1" dirty="0">
                <a:solidFill>
                  <a:srgbClr val="00A1DE"/>
                </a:solidFill>
                <a:latin typeface="Arial" panose="020B0604020202020204" pitchFamily="34" charset="0"/>
                <a:cs typeface="Arial" panose="020B0604020202020204" pitchFamily="34" charset="0"/>
              </a:endParaRPr>
            </a:p>
          </p:txBody>
        </p:sp>
      </p:gr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7215" y="2302024"/>
            <a:ext cx="319024" cy="8066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agmasrv1\sso$\Gestion_Deloitte\Global_Brand\- Templates\Icons\Iconography Deloitte\Icon_People_woman_M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6340" y="2302024"/>
            <a:ext cx="376467" cy="806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93086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2260/14</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3</a:t>
            </a:fld>
            <a:endParaRPr lang="en-GB" dirty="0">
              <a:solidFill>
                <a:srgbClr val="FFFFFF">
                  <a:lumMod val="65000"/>
                </a:srgbClr>
              </a:solidFill>
            </a:endParaRPr>
          </a:p>
        </p:txBody>
      </p:sp>
      <p:sp>
        <p:nvSpPr>
          <p:cNvPr id="77" name="Rectangle 76"/>
          <p:cNvSpPr/>
          <p:nvPr/>
        </p:nvSpPr>
        <p:spPr>
          <a:xfrm>
            <a:off x="3589040" y="771557"/>
            <a:ext cx="5688632" cy="6740307"/>
          </a:xfrm>
          <a:prstGeom prst="rect">
            <a:avLst/>
          </a:prstGeom>
          <a:ln>
            <a:solidFill>
              <a:schemeClr val="tx2"/>
            </a:solidFill>
          </a:ln>
        </p:spPr>
        <p:txBody>
          <a:bodyPr wrap="square">
            <a:spAutoFit/>
          </a:bodyPr>
          <a:lstStyle/>
          <a:p>
            <a:pPr marL="285750" indent="-285750" algn="just">
              <a:buFont typeface="Wingdings" panose="05000000000000000000" pitchFamily="2" charset="2"/>
              <a:buChar char="Ø"/>
            </a:pPr>
            <a:r>
              <a:rPr lang="pl-PL" sz="1800" dirty="0">
                <a:solidFill>
                  <a:srgbClr val="002776"/>
                </a:solidFill>
              </a:rPr>
              <a:t>Następnie </a:t>
            </a:r>
            <a:r>
              <a:rPr lang="pl-PL" sz="1800" dirty="0" smtClean="0">
                <a:solidFill>
                  <a:srgbClr val="002776"/>
                </a:solidFill>
              </a:rPr>
              <a:t>(…) zapadła </a:t>
            </a:r>
            <a:r>
              <a:rPr lang="pl-PL" sz="1800" dirty="0">
                <a:solidFill>
                  <a:srgbClr val="002776"/>
                </a:solidFill>
              </a:rPr>
              <a:t>uchwała </a:t>
            </a:r>
            <a:r>
              <a:rPr lang="pl-PL" sz="1800" b="1" dirty="0">
                <a:solidFill>
                  <a:srgbClr val="002776"/>
                </a:solidFill>
              </a:rPr>
              <a:t>o podniesieniu kapitału zakładowego spółki z o.o. przez ustanowienie nowych udziałów </a:t>
            </a:r>
            <a:r>
              <a:rPr lang="pl-PL" sz="1800" dirty="0">
                <a:solidFill>
                  <a:srgbClr val="002776"/>
                </a:solidFill>
              </a:rPr>
              <a:t>w ilości 1.500 sztuk o wartości nominalnej 1.000 zł każdy. Kapitał zakładowy został w ten sposób podniesiony o 1.500.000 zł do wysokości 37.500.000 zł. Nowe udziały zostały objęte wyłącznie przez dotychczasowych udziałowców. W tej sytuacji każdy ze wspólników (w tym także skarżący) objął po 500 nowo ustanowionych udziałów o łącznej wartości nominalnej 500.000 zł w zamian za wkład pieniężny równy kwocie 15.500.000 zł. Różnica (</a:t>
            </a:r>
            <a:r>
              <a:rPr lang="pl-PL" sz="1800" dirty="0" err="1">
                <a:solidFill>
                  <a:srgbClr val="002776"/>
                </a:solidFill>
              </a:rPr>
              <a:t>aggio</a:t>
            </a:r>
            <a:r>
              <a:rPr lang="pl-PL" sz="1800" dirty="0">
                <a:solidFill>
                  <a:srgbClr val="002776"/>
                </a:solidFill>
              </a:rPr>
              <a:t>) powstała w spółce z o.o. przekazana została na kapitał zapasowy. </a:t>
            </a:r>
            <a:endParaRPr lang="pl-PL" sz="1800" dirty="0" smtClean="0">
              <a:solidFill>
                <a:srgbClr val="002776"/>
              </a:solidFill>
            </a:endParaRPr>
          </a:p>
          <a:p>
            <a:pPr marL="285750" indent="-285750" algn="just">
              <a:buFont typeface="Wingdings" panose="05000000000000000000" pitchFamily="2" charset="2"/>
              <a:buChar char="Ø"/>
            </a:pPr>
            <a:r>
              <a:rPr lang="pl-PL" sz="1800" dirty="0" smtClean="0">
                <a:solidFill>
                  <a:srgbClr val="002776"/>
                </a:solidFill>
              </a:rPr>
              <a:t>W </a:t>
            </a:r>
            <a:r>
              <a:rPr lang="pl-PL" sz="1800" dirty="0">
                <a:solidFill>
                  <a:srgbClr val="002776"/>
                </a:solidFill>
              </a:rPr>
              <a:t>dniu 27 czerwca 2012 r. </a:t>
            </a:r>
            <a:r>
              <a:rPr lang="pl-PL" sz="1800" b="1" dirty="0">
                <a:solidFill>
                  <a:srgbClr val="002776"/>
                </a:solidFill>
              </a:rPr>
              <a:t>udziałowcy podjęli uchwałę o ponownej zmianie formy prawnej prowadzonej działalności. Spółka z o.o. (powstała z przekształcenia spółki jawnej) została przekształcona w "T." S.A. (dalej: "spółka akcyjna").</a:t>
            </a:r>
            <a:r>
              <a:rPr lang="pl-PL" sz="1800" dirty="0">
                <a:solidFill>
                  <a:srgbClr val="002776"/>
                </a:solidFill>
              </a:rPr>
              <a:t> W wyniku tej zmiany dotychczasowi udziałowcy stali się jedynymi akcjonariuszami przekształconego podmiotu. Każdy z nich objął po 200 akcji o wartości nominalnej 62.500 zł </a:t>
            </a:r>
            <a:r>
              <a:rPr lang="pl-PL" sz="1800" dirty="0" smtClean="0">
                <a:solidFill>
                  <a:srgbClr val="002776"/>
                </a:solidFill>
              </a:rPr>
              <a:t>każda</a:t>
            </a:r>
            <a:r>
              <a:rPr lang="pl-PL" sz="1800" dirty="0">
                <a:solidFill>
                  <a:srgbClr val="002776"/>
                </a:solidFill>
              </a:rPr>
              <a:t>.</a:t>
            </a:r>
          </a:p>
        </p:txBody>
      </p:sp>
      <p:grpSp>
        <p:nvGrpSpPr>
          <p:cNvPr id="86" name="Group 85"/>
          <p:cNvGrpSpPr/>
          <p:nvPr/>
        </p:nvGrpSpPr>
        <p:grpSpPr>
          <a:xfrm>
            <a:off x="505153" y="3156212"/>
            <a:ext cx="2435815" cy="2395348"/>
            <a:chOff x="1466849" y="4370892"/>
            <a:chExt cx="1818301"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endParaRPr lang="pl-PL" sz="1600" b="1" dirty="0" smtClean="0">
                <a:solidFill>
                  <a:srgbClr val="FFFFFF"/>
                </a:solidFill>
                <a:cs typeface="Arial" panose="020B0604020202020204" pitchFamily="34" charset="0"/>
              </a:endParaRPr>
            </a:p>
            <a:p>
              <a:pPr algn="ctr"/>
              <a:endParaRPr lang="pl-PL" sz="1600" b="1" dirty="0">
                <a:solidFill>
                  <a:srgbClr val="FFFFFF"/>
                </a:solidFill>
                <a:cs typeface="Arial" panose="020B0604020202020204" pitchFamily="34" charset="0"/>
              </a:endParaRPr>
            </a:p>
            <a:p>
              <a:pPr algn="ctr"/>
              <a:endParaRPr lang="pl-PL" sz="1600" b="1" dirty="0" smtClean="0">
                <a:solidFill>
                  <a:srgbClr val="FFFFFF"/>
                </a:solidFill>
                <a:cs typeface="Arial" panose="020B0604020202020204" pitchFamily="34" charset="0"/>
              </a:endParaRPr>
            </a:p>
            <a:p>
              <a:pPr algn="ctr"/>
              <a:r>
                <a:rPr lang="pl-PL" sz="1600" b="1" dirty="0" smtClean="0">
                  <a:solidFill>
                    <a:srgbClr val="FFFFFF"/>
                  </a:solidFill>
                  <a:cs typeface="Arial" panose="020B0604020202020204" pitchFamily="34" charset="0"/>
                </a:rPr>
                <a:t>SPÓŁKA AKCYJNA</a:t>
              </a:r>
              <a:endParaRPr lang="en-US" sz="1600" b="1" dirty="0">
                <a:solidFill>
                  <a:srgbClr val="FFFFFF"/>
                </a:solidFill>
                <a:cs typeface="Arial" panose="020B0604020202020204" pitchFamily="34" charset="0"/>
              </a:endParaRPr>
            </a:p>
          </p:txBody>
        </p:sp>
        <p:cxnSp>
          <p:nvCxnSpPr>
            <p:cNvPr id="92" name="Straight Arrow Connector 91"/>
            <p:cNvCxnSpPr>
              <a:endCxn id="88" idx="0"/>
            </p:cNvCxnSpPr>
            <p:nvPr/>
          </p:nvCxnSpPr>
          <p:spPr>
            <a:xfrm>
              <a:off x="2376000"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375999" y="4524795"/>
              <a:ext cx="776647"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b="1" dirty="0" smtClean="0">
                  <a:solidFill>
                    <a:srgbClr val="00A1DE"/>
                  </a:solidFill>
                  <a:cs typeface="Arial" panose="020B0604020202020204" pitchFamily="34" charset="0"/>
                </a:rPr>
                <a:t>100%</a:t>
              </a:r>
              <a:endParaRPr lang="pl-PL" b="1" dirty="0" smtClean="0">
                <a:solidFill>
                  <a:srgbClr val="00A1DE"/>
                </a:solidFill>
                <a:cs typeface="Arial" panose="020B0604020202020204" pitchFamily="34" charset="0"/>
              </a:endParaRPr>
            </a:p>
            <a:p>
              <a:pPr algn="ctr"/>
              <a:r>
                <a:rPr lang="pl-PL" b="1" dirty="0" smtClean="0">
                  <a:solidFill>
                    <a:srgbClr val="00A1DE"/>
                  </a:solidFill>
                  <a:cs typeface="Arial" panose="020B0604020202020204" pitchFamily="34" charset="0"/>
                </a:rPr>
                <a:t>UDZIAŁÓW</a:t>
              </a:r>
              <a:endParaRPr b="1" dirty="0">
                <a:solidFill>
                  <a:srgbClr val="00A1DE"/>
                </a:solidFill>
                <a:cs typeface="Arial" panose="020B0604020202020204" pitchFamily="34" charset="0"/>
              </a:endParaRPr>
            </a:p>
          </p:txBody>
        </p:sp>
      </p:gr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7215" y="2302024"/>
            <a:ext cx="319024" cy="8066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agmasrv1\sso$\Gestion_Deloitte\Global_Brand\- Templates\Icons\Iconography Deloitte\Icon_People_woman_M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5816" y="2301310"/>
            <a:ext cx="376467" cy="806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148974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2260/14</a:t>
            </a:r>
            <a:br>
              <a:rPr lang="pl-PL" sz="2900" b="0" dirty="0">
                <a:solidFill>
                  <a:schemeClr val="accent2"/>
                </a:solidFill>
              </a:rPr>
            </a:br>
            <a:r>
              <a:rPr lang="pl-PL" sz="2200" b="0" dirty="0" smtClean="0">
                <a:solidFill>
                  <a:srgbClr val="002776"/>
                </a:solidFill>
              </a:rPr>
              <a:t>Pytanie podatnik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4</a:t>
            </a:fld>
            <a:endParaRPr lang="en-GB" dirty="0">
              <a:solidFill>
                <a:srgbClr val="FFFFFF">
                  <a:lumMod val="65000"/>
                </a:srgbClr>
              </a:solidFill>
            </a:endParaRPr>
          </a:p>
        </p:txBody>
      </p:sp>
      <p:sp>
        <p:nvSpPr>
          <p:cNvPr id="77" name="Rectangle 76"/>
          <p:cNvSpPr/>
          <p:nvPr/>
        </p:nvSpPr>
        <p:spPr>
          <a:xfrm>
            <a:off x="318441" y="1450702"/>
            <a:ext cx="8784976" cy="923330"/>
          </a:xfrm>
          <a:prstGeom prst="rect">
            <a:avLst/>
          </a:prstGeom>
          <a:ln>
            <a:solidFill>
              <a:schemeClr val="tx2"/>
            </a:solidFill>
          </a:ln>
        </p:spPr>
        <p:txBody>
          <a:bodyPr wrap="square">
            <a:spAutoFit/>
          </a:bodyPr>
          <a:lstStyle/>
          <a:p>
            <a:pPr algn="just"/>
            <a:r>
              <a:rPr lang="pl-PL" sz="1800" dirty="0" smtClean="0">
                <a:solidFill>
                  <a:srgbClr val="002776"/>
                </a:solidFill>
              </a:rPr>
              <a:t>Skarżący </a:t>
            </a:r>
            <a:r>
              <a:rPr lang="pl-PL" sz="1800" dirty="0">
                <a:solidFill>
                  <a:srgbClr val="002776"/>
                </a:solidFill>
              </a:rPr>
              <a:t>zamierza dokonać zbycia części posiadanych przez siebie akcji, które objął w wyniku dwukrotnego przekształcenia, najpierw spółki jawnej w spółkę z o.o., a następnie spółki z o.o. w spółkę akcyjną</a:t>
            </a:r>
          </a:p>
        </p:txBody>
      </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Rectangular Callout 98"/>
          <p:cNvSpPr/>
          <p:nvPr/>
        </p:nvSpPr>
        <p:spPr>
          <a:xfrm>
            <a:off x="5031634" y="2700427"/>
            <a:ext cx="3567380" cy="2679855"/>
          </a:xfrm>
          <a:prstGeom prst="wedgeRectCallout">
            <a:avLst>
              <a:gd name="adj1" fmla="val -32690"/>
              <a:gd name="adj2" fmla="val 62127"/>
            </a:avLst>
          </a:prstGeom>
          <a:solidFill>
            <a:schemeClr val="tx2"/>
          </a:solidFill>
          <a:ln w="25400" cap="flat" cmpd="sng" algn="ctr">
            <a:noFill/>
            <a:prstDash val="solid"/>
          </a:ln>
          <a:effectLst/>
        </p:spPr>
        <p:txBody>
          <a:bodyPr lIns="90000" tIns="90000" rIns="90000" bIns="90000" rtlCol="0" anchor="t" anchorCtr="0"/>
          <a:lstStyle/>
          <a:p>
            <a:pPr>
              <a:defRPr/>
            </a:pPr>
            <a:r>
              <a:rPr lang="pl-PL" sz="1600" b="1" u="sng" kern="0" dirty="0" smtClean="0">
                <a:solidFill>
                  <a:sysClr val="window" lastClr="FFFFFF"/>
                </a:solidFill>
                <a:latin typeface="Arial"/>
              </a:rPr>
              <a:t>PYTANIE PODATNIKA</a:t>
            </a:r>
          </a:p>
          <a:p>
            <a:pPr>
              <a:defRPr/>
            </a:pPr>
            <a:r>
              <a:rPr lang="pl-PL" sz="1600" kern="0" dirty="0">
                <a:solidFill>
                  <a:sysClr val="window" lastClr="FFFFFF"/>
                </a:solidFill>
                <a:latin typeface="Arial"/>
              </a:rPr>
              <a:t> W jakiej wysokości powinien ustalić koszty uzyskania </a:t>
            </a:r>
            <a:r>
              <a:rPr lang="pl-PL" sz="1600" kern="0" dirty="0" smtClean="0">
                <a:solidFill>
                  <a:sysClr val="window" lastClr="FFFFFF"/>
                </a:solidFill>
                <a:latin typeface="Arial"/>
              </a:rPr>
              <a:t>przychodów </a:t>
            </a:r>
            <a:r>
              <a:rPr lang="pl-PL" sz="1600" kern="0" dirty="0">
                <a:solidFill>
                  <a:sysClr val="window" lastClr="FFFFFF"/>
                </a:solidFill>
                <a:latin typeface="Arial"/>
              </a:rPr>
              <a:t>w przypadku zbycia akcji, które zostały objęte przez niego w sposób przedstawiony w stanie </a:t>
            </a:r>
            <a:r>
              <a:rPr lang="pl-PL" sz="1600" kern="0" dirty="0" smtClean="0">
                <a:solidFill>
                  <a:sysClr val="window" lastClr="FFFFFF"/>
                </a:solidFill>
                <a:latin typeface="Arial"/>
              </a:rPr>
              <a:t>faktycznym?</a:t>
            </a:r>
            <a:endParaRPr lang="en-GB" sz="1600" kern="0" dirty="0">
              <a:solidFill>
                <a:sysClr val="window" lastClr="FFFFFF"/>
              </a:solidFill>
              <a:latin typeface="Arial"/>
            </a:endParaRPr>
          </a:p>
        </p:txBody>
      </p:sp>
      <p:grpSp>
        <p:nvGrpSpPr>
          <p:cNvPr id="4" name="Group 3"/>
          <p:cNvGrpSpPr/>
          <p:nvPr/>
        </p:nvGrpSpPr>
        <p:grpSpPr>
          <a:xfrm>
            <a:off x="1289210" y="2891242"/>
            <a:ext cx="2435815" cy="3256472"/>
            <a:chOff x="1651193" y="3886200"/>
            <a:chExt cx="2435815" cy="3256472"/>
          </a:xfrm>
        </p:grpSpPr>
        <p:grpSp>
          <p:nvGrpSpPr>
            <p:cNvPr id="86" name="Group 85"/>
            <p:cNvGrpSpPr/>
            <p:nvPr/>
          </p:nvGrpSpPr>
          <p:grpSpPr>
            <a:xfrm>
              <a:off x="1651193" y="4747324"/>
              <a:ext cx="2435815" cy="2395348"/>
              <a:chOff x="1466849" y="4370892"/>
              <a:chExt cx="1818301"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endParaRPr lang="pl-PL" sz="1600" b="1" dirty="0" smtClean="0">
                  <a:solidFill>
                    <a:srgbClr val="FFFFFF"/>
                  </a:solidFill>
                  <a:cs typeface="Arial" panose="020B0604020202020204" pitchFamily="34" charset="0"/>
                </a:endParaRPr>
              </a:p>
              <a:p>
                <a:pPr algn="ctr"/>
                <a:endParaRPr lang="pl-PL" sz="1600" b="1" dirty="0">
                  <a:solidFill>
                    <a:srgbClr val="FFFFFF"/>
                  </a:solidFill>
                  <a:cs typeface="Arial" panose="020B0604020202020204" pitchFamily="34" charset="0"/>
                </a:endParaRPr>
              </a:p>
              <a:p>
                <a:pPr algn="ctr"/>
                <a:endParaRPr lang="pl-PL" sz="1600" b="1" dirty="0" smtClean="0">
                  <a:solidFill>
                    <a:srgbClr val="FFFFFF"/>
                  </a:solidFill>
                  <a:cs typeface="Arial" panose="020B0604020202020204" pitchFamily="34" charset="0"/>
                </a:endParaRPr>
              </a:p>
              <a:p>
                <a:pPr algn="ctr"/>
                <a:r>
                  <a:rPr lang="pl-PL" sz="1600" b="1" dirty="0" smtClean="0">
                    <a:solidFill>
                      <a:srgbClr val="FFFFFF"/>
                    </a:solidFill>
                    <a:cs typeface="Arial" panose="020B0604020202020204" pitchFamily="34" charset="0"/>
                  </a:rPr>
                  <a:t>SPÓŁKA AKCYJNA</a:t>
                </a:r>
                <a:endParaRPr lang="en-US" sz="1600" b="1" dirty="0">
                  <a:solidFill>
                    <a:srgbClr val="FFFFFF"/>
                  </a:solidFill>
                  <a:cs typeface="Arial" panose="020B0604020202020204" pitchFamily="34" charset="0"/>
                </a:endParaRPr>
              </a:p>
            </p:txBody>
          </p:sp>
          <p:cxnSp>
            <p:nvCxnSpPr>
              <p:cNvPr id="92" name="Straight Arrow Connector 91"/>
              <p:cNvCxnSpPr>
                <a:endCxn id="88" idx="0"/>
              </p:cNvCxnSpPr>
              <p:nvPr/>
            </p:nvCxnSpPr>
            <p:spPr>
              <a:xfrm>
                <a:off x="2376000"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375999" y="4524795"/>
                <a:ext cx="776647"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b="1" dirty="0" smtClean="0">
                    <a:solidFill>
                      <a:srgbClr val="00A1DE"/>
                    </a:solidFill>
                    <a:cs typeface="Arial" panose="020B0604020202020204" pitchFamily="34" charset="0"/>
                  </a:rPr>
                  <a:t>100%</a:t>
                </a:r>
                <a:endParaRPr lang="pl-PL" b="1" dirty="0" smtClean="0">
                  <a:solidFill>
                    <a:srgbClr val="00A1DE"/>
                  </a:solidFill>
                  <a:cs typeface="Arial" panose="020B0604020202020204" pitchFamily="34" charset="0"/>
                </a:endParaRPr>
              </a:p>
              <a:p>
                <a:pPr algn="ctr"/>
                <a:r>
                  <a:rPr lang="pl-PL" b="1" dirty="0" smtClean="0">
                    <a:solidFill>
                      <a:srgbClr val="00A1DE"/>
                    </a:solidFill>
                    <a:cs typeface="Arial" panose="020B0604020202020204" pitchFamily="34" charset="0"/>
                  </a:rPr>
                  <a:t>UDZIAŁÓW</a:t>
                </a:r>
                <a:endParaRPr b="1" dirty="0">
                  <a:solidFill>
                    <a:srgbClr val="00A1DE"/>
                  </a:solidFill>
                  <a:cs typeface="Arial" panose="020B0604020202020204" pitchFamily="34" charset="0"/>
                </a:endParaRPr>
              </a:p>
            </p:txBody>
          </p:sp>
        </p:gr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93255" y="3893136"/>
              <a:ext cx="319024" cy="8066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agmasrv1\sso$\Gestion_Deloitte\Global_Brand\- Templates\Icons\Iconography Deloitte\Icon_People_woman_M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2380" y="3886200"/>
              <a:ext cx="376467" cy="8066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560862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2260/14</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5</a:t>
            </a:fld>
            <a:endParaRPr lang="en-GB" dirty="0">
              <a:solidFill>
                <a:srgbClr val="FFFFFF">
                  <a:lumMod val="65000"/>
                </a:srgbClr>
              </a:solidFill>
            </a:endParaRPr>
          </a:p>
        </p:txBody>
      </p:sp>
      <p:grpSp>
        <p:nvGrpSpPr>
          <p:cNvPr id="4" name="Group 3"/>
          <p:cNvGrpSpPr/>
          <p:nvPr/>
        </p:nvGrpSpPr>
        <p:grpSpPr>
          <a:xfrm>
            <a:off x="636712" y="3142577"/>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a:solidFill>
                    <a:schemeClr val="bg1"/>
                  </a:solidFill>
                  <a:latin typeface="Arial" panose="020B0604020202020204" pitchFamily="34" charset="0"/>
                  <a:cs typeface="Arial" panose="020B0604020202020204" pitchFamily="34" charset="0"/>
                </a:rPr>
                <a:t>Art. </a:t>
              </a:r>
              <a:r>
                <a:rPr lang="pl-PL" sz="1400" b="1" dirty="0" smtClean="0">
                  <a:solidFill>
                    <a:schemeClr val="bg1"/>
                  </a:solidFill>
                  <a:latin typeface="Arial" panose="020B0604020202020204" pitchFamily="34" charset="0"/>
                  <a:cs typeface="Arial" panose="020B0604020202020204" pitchFamily="34" charset="0"/>
                </a:rPr>
                <a:t>23 </a:t>
              </a:r>
              <a:r>
                <a:rPr lang="pl-PL" sz="1400" b="1" dirty="0">
                  <a:solidFill>
                    <a:schemeClr val="bg1"/>
                  </a:solidFill>
                  <a:latin typeface="Arial" panose="020B0604020202020204" pitchFamily="34" charset="0"/>
                  <a:cs typeface="Arial" panose="020B0604020202020204" pitchFamily="34" charset="0"/>
                </a:rPr>
                <a:t>ust. </a:t>
              </a:r>
              <a:r>
                <a:rPr lang="pl-PL" sz="1400" b="1" dirty="0" smtClean="0">
                  <a:solidFill>
                    <a:schemeClr val="bg1"/>
                  </a:solidFill>
                  <a:latin typeface="Arial" panose="020B0604020202020204" pitchFamily="34" charset="0"/>
                  <a:cs typeface="Arial" panose="020B0604020202020204" pitchFamily="34" charset="0"/>
                </a:rPr>
                <a:t>1  ustawy o PDOF</a:t>
              </a:r>
              <a:endParaRPr lang="pl-PL" sz="1400" b="1" dirty="0">
                <a:solidFill>
                  <a:schemeClr val="bg1"/>
                </a:solidFill>
                <a:latin typeface="Arial" panose="020B0604020202020204" pitchFamily="34" charset="0"/>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eaLnBrk="1" hangingPunct="1"/>
              <a:r>
                <a:rPr lang="pl-PL" sz="1800" dirty="0" smtClean="0">
                  <a:solidFill>
                    <a:schemeClr val="tx1"/>
                  </a:solidFill>
                </a:rPr>
                <a:t>„</a:t>
              </a:r>
              <a:r>
                <a:rPr lang="pl-PL" sz="1800" i="1" dirty="0" smtClean="0">
                  <a:solidFill>
                    <a:schemeClr val="tx1"/>
                  </a:solidFill>
                </a:rPr>
                <a:t>Nie </a:t>
              </a:r>
              <a:r>
                <a:rPr lang="pl-PL" sz="1800" i="1" dirty="0">
                  <a:solidFill>
                    <a:schemeClr val="tx1"/>
                  </a:solidFill>
                </a:rPr>
                <a:t>uważa się za koszty uzyskania przychodów:</a:t>
              </a:r>
            </a:p>
            <a:p>
              <a:pPr algn="just" eaLnBrk="1" hangingPunct="1"/>
              <a:r>
                <a:rPr lang="pl-PL" sz="1800" i="1" dirty="0">
                  <a:solidFill>
                    <a:schemeClr val="tx1"/>
                  </a:solidFill>
                </a:rPr>
                <a:t>(…)</a:t>
              </a:r>
            </a:p>
            <a:p>
              <a:pPr algn="just" eaLnBrk="1" hangingPunct="1"/>
              <a:r>
                <a:rPr lang="pl-PL" sz="1800" i="1" dirty="0">
                  <a:solidFill>
                    <a:schemeClr val="tx1"/>
                  </a:solidFill>
                </a:rPr>
                <a:t>38) wydatków na objęcie lub nabycie udziałów albo wkładów w spółdzielni, udziałów (akcji) oraz papierów wartościowych, a także wydatków na nabycie tytułów uczestnictwa w funduszach kapitałowych; wydatki takie są jednak kosztem uzyskania przychodu z odpłatnego zbycia tych udziałów (akcji) oraz papierów wartościowych, w tym z tytułu wykupu przez emitenta papierów wartościowych, a także z odkupienia albo umorzenia tytułów uczestnictwa w funduszach kapitałowych, z zastrzeżeniem ust. 3e</a:t>
              </a:r>
              <a:r>
                <a:rPr lang="pl-PL" sz="1800" dirty="0">
                  <a:solidFill>
                    <a:schemeClr val="tx1"/>
                  </a:solidFill>
                </a:rPr>
                <a:t>;”</a:t>
              </a:r>
            </a:p>
          </p:txBody>
        </p:sp>
      </p:grpSp>
      <p:sp>
        <p:nvSpPr>
          <p:cNvPr id="10" name="Rectangle 9"/>
          <p:cNvSpPr/>
          <p:nvPr/>
        </p:nvSpPr>
        <p:spPr>
          <a:xfrm>
            <a:off x="1278205" y="1278534"/>
            <a:ext cx="7878772" cy="383584"/>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a:solidFill>
                  <a:srgbClr val="FFFFFF"/>
                </a:solidFill>
                <a:cs typeface="Arial" panose="020B0604020202020204" pitchFamily="34" charset="0"/>
              </a:rPr>
              <a:t>Art. </a:t>
            </a:r>
            <a:r>
              <a:rPr lang="pl-PL" sz="1400" b="1" dirty="0" smtClean="0">
                <a:solidFill>
                  <a:srgbClr val="FFFFFF"/>
                </a:solidFill>
                <a:cs typeface="Arial" panose="020B0604020202020204" pitchFamily="34" charset="0"/>
              </a:rPr>
              <a:t>22  ustawy o PDOF</a:t>
            </a:r>
            <a:endParaRPr lang="pl-PL" sz="1400" b="1" dirty="0">
              <a:solidFill>
                <a:srgbClr val="FFFFFF"/>
              </a:solidFill>
              <a:cs typeface="Arial" panose="020B0604020202020204" pitchFamily="34" charset="0"/>
            </a:endParaRPr>
          </a:p>
        </p:txBody>
      </p:sp>
      <p:sp>
        <p:nvSpPr>
          <p:cNvPr id="11" name="Rectangle 10"/>
          <p:cNvSpPr/>
          <p:nvPr/>
        </p:nvSpPr>
        <p:spPr>
          <a:xfrm>
            <a:off x="636712" y="1669923"/>
            <a:ext cx="9003779" cy="1208165"/>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a:solidFill>
                  <a:srgbClr val="000000"/>
                </a:solidFill>
              </a:rPr>
              <a:t>1. </a:t>
            </a:r>
            <a:r>
              <a:rPr lang="pl-PL" sz="1800" i="1" dirty="0">
                <a:solidFill>
                  <a:srgbClr val="000000"/>
                </a:solidFill>
              </a:rPr>
              <a:t>Kosztami uzyskania przychodów są koszty poniesione w celu osiągnięcia przychodów lub zachowania albo zabezpieczenia źródła przychodów, z wyjątkiem kosztów wymienionych w art. 23.</a:t>
            </a:r>
          </a:p>
        </p:txBody>
      </p:sp>
    </p:spTree>
    <p:extLst>
      <p:ext uri="{BB962C8B-B14F-4D97-AF65-F5344CB8AC3E}">
        <p14:creationId xmlns:p14="http://schemas.microsoft.com/office/powerpoint/2010/main" val="61066157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2260/14</a:t>
            </a:r>
            <a:r>
              <a:rPr lang="pl-PL" sz="2900" b="0" dirty="0" smtClean="0">
                <a:solidFill>
                  <a:schemeClr val="accent2"/>
                </a:solidFill>
              </a:rPr>
              <a:t/>
            </a:r>
            <a:br>
              <a:rPr lang="pl-PL" sz="2900" b="0" dirty="0" smtClean="0">
                <a:solidFill>
                  <a:schemeClr val="accent2"/>
                </a:solidFill>
              </a:rPr>
            </a:br>
            <a:r>
              <a:rPr lang="pl-PL" sz="2200" b="0" dirty="0" smtClean="0">
                <a:solidFill>
                  <a:srgbClr val="002776"/>
                </a:solidFill>
              </a:rPr>
              <a:t>Rozstrzygnięcie NS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6</a:t>
            </a:fld>
            <a:endParaRPr lang="en-GB" dirty="0">
              <a:solidFill>
                <a:srgbClr val="FFFFFF">
                  <a:lumMod val="65000"/>
                </a:srgbClr>
              </a:solidFill>
            </a:endParaRPr>
          </a:p>
        </p:txBody>
      </p:sp>
      <p:sp>
        <p:nvSpPr>
          <p:cNvPr id="17" name="Rectangle 16"/>
          <p:cNvSpPr/>
          <p:nvPr/>
        </p:nvSpPr>
        <p:spPr>
          <a:xfrm>
            <a:off x="407125" y="1581944"/>
            <a:ext cx="9233368" cy="720000"/>
          </a:xfrm>
          <a:prstGeom prst="rect">
            <a:avLst/>
          </a:prstGeom>
          <a:solidFill>
            <a:srgbClr val="81BC00"/>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gn="ctr">
              <a:lnSpc>
                <a:spcPts val="2000"/>
              </a:lnSpc>
              <a:spcAft>
                <a:spcPts val="600"/>
              </a:spcAft>
            </a:pPr>
            <a:r>
              <a:rPr lang="pl-PL" dirty="0" smtClean="0">
                <a:solidFill>
                  <a:srgbClr val="FFFFFF"/>
                </a:solidFill>
              </a:rPr>
              <a:t>Wyrok </a:t>
            </a:r>
            <a:r>
              <a:rPr lang="pl-PL" dirty="0">
                <a:solidFill>
                  <a:srgbClr val="FFFFFF"/>
                </a:solidFill>
              </a:rPr>
              <a:t>NSA z </a:t>
            </a:r>
            <a:r>
              <a:rPr lang="pl-PL" dirty="0" smtClean="0">
                <a:solidFill>
                  <a:srgbClr val="FFFFFF"/>
                </a:solidFill>
              </a:rPr>
              <a:t>8.09.2016 roku, </a:t>
            </a:r>
            <a:r>
              <a:rPr lang="pl-PL" b="1" dirty="0">
                <a:solidFill>
                  <a:srgbClr val="FFFFFF"/>
                </a:solidFill>
              </a:rPr>
              <a:t>II FSK 2260/14</a:t>
            </a:r>
            <a:endParaRPr lang="pl-PL" dirty="0">
              <a:solidFill>
                <a:srgbClr val="FFFFFF"/>
              </a:solidFill>
            </a:endParaRPr>
          </a:p>
        </p:txBody>
      </p:sp>
      <p:sp>
        <p:nvSpPr>
          <p:cNvPr id="20" name="Rectangle 19"/>
          <p:cNvSpPr/>
          <p:nvPr/>
        </p:nvSpPr>
        <p:spPr>
          <a:xfrm>
            <a:off x="407125" y="2322837"/>
            <a:ext cx="9223835" cy="3579588"/>
          </a:xfrm>
          <a:prstGeom prst="rect">
            <a:avLst/>
          </a:prstGeom>
          <a:solidFill>
            <a:schemeClr val="bg1"/>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nSpc>
                <a:spcPts val="2000"/>
              </a:lnSpc>
              <a:spcAft>
                <a:spcPts val="600"/>
              </a:spcAft>
            </a:pPr>
            <a:r>
              <a:rPr lang="pl-PL" sz="1800" i="1" dirty="0" smtClean="0">
                <a:solidFill>
                  <a:srgbClr val="000000"/>
                </a:solidFill>
              </a:rPr>
              <a:t>„</a:t>
            </a:r>
            <a:r>
              <a:rPr lang="pl-PL" sz="1800" i="1" dirty="0">
                <a:solidFill>
                  <a:srgbClr val="000000"/>
                </a:solidFill>
              </a:rPr>
              <a:t>W orzecznictwie sądów administracyjnych ugruntowane jest stanowisko, że art. 23 ust. 1 pkt 38 </a:t>
            </a:r>
            <a:r>
              <a:rPr lang="pl-PL" sz="1800" i="1" dirty="0" err="1">
                <a:solidFill>
                  <a:srgbClr val="000000"/>
                </a:solidFill>
              </a:rPr>
              <a:t>u.p.d.o.f</a:t>
            </a:r>
            <a:r>
              <a:rPr lang="pl-PL" sz="1800" i="1" dirty="0">
                <a:solidFill>
                  <a:srgbClr val="000000"/>
                </a:solidFill>
              </a:rPr>
              <a:t>. w odniesieniu do kosztów uzyskania przychodów z odpłatnego zbycia akcji nie nakazuje odnieść ich do pierwotnie poniesionych wydatków. </a:t>
            </a:r>
            <a:endParaRPr lang="pl-PL" sz="1800" i="1" dirty="0" smtClean="0">
              <a:solidFill>
                <a:srgbClr val="000000"/>
              </a:solidFill>
            </a:endParaRPr>
          </a:p>
          <a:p>
            <a:pPr>
              <a:lnSpc>
                <a:spcPts val="2000"/>
              </a:lnSpc>
              <a:spcAft>
                <a:spcPts val="600"/>
              </a:spcAft>
            </a:pPr>
            <a:r>
              <a:rPr lang="pl-PL" sz="1800" i="1" dirty="0" smtClean="0">
                <a:solidFill>
                  <a:srgbClr val="000000"/>
                </a:solidFill>
              </a:rPr>
              <a:t>Zgodnie </a:t>
            </a:r>
            <a:r>
              <a:rPr lang="pl-PL" sz="1800" i="1" dirty="0">
                <a:solidFill>
                  <a:srgbClr val="000000"/>
                </a:solidFill>
              </a:rPr>
              <a:t>z przepisem art. 23 ust. 1 pkt 38 </a:t>
            </a:r>
            <a:r>
              <a:rPr lang="pl-PL" sz="1800" i="1" dirty="0" err="1">
                <a:solidFill>
                  <a:srgbClr val="000000"/>
                </a:solidFill>
              </a:rPr>
              <a:t>u.p.d.o.f</a:t>
            </a:r>
            <a:r>
              <a:rPr lang="pl-PL" sz="1800" i="1" dirty="0">
                <a:solidFill>
                  <a:srgbClr val="000000"/>
                </a:solidFill>
              </a:rPr>
              <a:t>., wydatki na nabycie udziałów (akcji) są kosztem uzyskania przychodów z odpłatnego zbycia tych udziałów lub akcji. Koszty te wyznacza wartość środków poniesionych dla uzyskania majątku spółki jawnej, który w dacie ustania bytu prawnego tej spółki, a więc w dacie powstania spółki z o.o., równy był początkowej wartości majątku spółki z o.o. Dlatego kosztem uzyskania przychodu powinna więc być wartość bilansowa spółki jawnej z dnia ustania jej bytu prawnego, będąca jednocześnie wartością bilansową spółki z o.o. z dnia rozpoczęcia tego bytu </a:t>
            </a:r>
            <a:r>
              <a:rPr lang="pl-PL" sz="1800" dirty="0" smtClean="0">
                <a:solidFill>
                  <a:srgbClr val="000000"/>
                </a:solidFill>
              </a:rPr>
              <a:t>”</a:t>
            </a:r>
            <a:endParaRPr lang="pl-PL" sz="1800" dirty="0">
              <a:solidFill>
                <a:srgbClr val="000000"/>
              </a:solidFill>
            </a:endParaRPr>
          </a:p>
        </p:txBody>
      </p:sp>
    </p:spTree>
    <p:extLst>
      <p:ext uri="{BB962C8B-B14F-4D97-AF65-F5344CB8AC3E}">
        <p14:creationId xmlns:p14="http://schemas.microsoft.com/office/powerpoint/2010/main" val="45371530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900" b="0" dirty="0">
                <a:solidFill>
                  <a:schemeClr val="accent2"/>
                </a:solidFill>
              </a:rPr>
              <a:t>Sprzedaż spółki kapitałowej powstałej z przekształcenia spółki osobowej – koszty uzyskania przychodów</a:t>
            </a:r>
            <a:r>
              <a:rPr lang="pl-PL" sz="3200" dirty="0"/>
              <a:t/>
            </a:r>
            <a:br>
              <a:rPr lang="pl-PL" sz="3200" dirty="0"/>
            </a:br>
            <a:r>
              <a:rPr lang="pl-PL" sz="2200" b="0" dirty="0" smtClean="0">
                <a:solidFill>
                  <a:srgbClr val="002776"/>
                </a:solidFill>
              </a:rPr>
              <a:t>Stanowisko odmienne</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7</a:t>
            </a:fld>
            <a:endParaRPr lang="en-GB" dirty="0">
              <a:solidFill>
                <a:srgbClr val="FFFFFF">
                  <a:lumMod val="65000"/>
                </a:srgbClr>
              </a:solidFill>
            </a:endParaRPr>
          </a:p>
        </p:txBody>
      </p:sp>
      <p:sp>
        <p:nvSpPr>
          <p:cNvPr id="17" name="Rectangle 16"/>
          <p:cNvSpPr/>
          <p:nvPr/>
        </p:nvSpPr>
        <p:spPr>
          <a:xfrm>
            <a:off x="407125" y="1581944"/>
            <a:ext cx="9233368" cy="720000"/>
          </a:xfrm>
          <a:prstGeom prst="rect">
            <a:avLst/>
          </a:prstGeom>
          <a:solidFill>
            <a:srgbClr val="81BC00"/>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lvl="0" algn="ctr">
              <a:lnSpc>
                <a:spcPts val="2000"/>
              </a:lnSpc>
              <a:spcAft>
                <a:spcPts val="600"/>
              </a:spcAft>
            </a:pPr>
            <a:r>
              <a:rPr lang="pl-PL" dirty="0" smtClean="0">
                <a:solidFill>
                  <a:schemeClr val="bg1"/>
                </a:solidFill>
              </a:rPr>
              <a:t>Wyrok </a:t>
            </a:r>
            <a:r>
              <a:rPr lang="pl-PL" dirty="0">
                <a:solidFill>
                  <a:schemeClr val="bg1"/>
                </a:solidFill>
              </a:rPr>
              <a:t>NSA z </a:t>
            </a:r>
            <a:r>
              <a:rPr lang="pl-PL" dirty="0" smtClean="0">
                <a:solidFill>
                  <a:schemeClr val="bg1"/>
                </a:solidFill>
              </a:rPr>
              <a:t>16.02.2016 roku, </a:t>
            </a:r>
            <a:r>
              <a:rPr lang="pl-PL" b="1" dirty="0">
                <a:solidFill>
                  <a:schemeClr val="bg1"/>
                </a:solidFill>
              </a:rPr>
              <a:t>II FSK 3570/13</a:t>
            </a:r>
            <a:endParaRPr lang="pl-PL" dirty="0">
              <a:solidFill>
                <a:schemeClr val="bg1"/>
              </a:solidFill>
            </a:endParaRPr>
          </a:p>
        </p:txBody>
      </p:sp>
      <p:sp>
        <p:nvSpPr>
          <p:cNvPr id="20" name="Rectangle 19"/>
          <p:cNvSpPr/>
          <p:nvPr/>
        </p:nvSpPr>
        <p:spPr>
          <a:xfrm>
            <a:off x="407125" y="2322836"/>
            <a:ext cx="9223835" cy="4659707"/>
          </a:xfrm>
          <a:prstGeom prst="rect">
            <a:avLst/>
          </a:prstGeom>
          <a:solidFill>
            <a:schemeClr val="bg1"/>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lvl="0">
              <a:lnSpc>
                <a:spcPts val="2000"/>
              </a:lnSpc>
              <a:spcAft>
                <a:spcPts val="600"/>
              </a:spcAft>
            </a:pPr>
            <a:endParaRPr lang="pl-PL" sz="1800" dirty="0" smtClean="0">
              <a:solidFill>
                <a:schemeClr val="tx1"/>
              </a:solidFill>
            </a:endParaRPr>
          </a:p>
          <a:p>
            <a:pPr lvl="0">
              <a:lnSpc>
                <a:spcPts val="2000"/>
              </a:lnSpc>
              <a:spcAft>
                <a:spcPts val="600"/>
              </a:spcAft>
            </a:pPr>
            <a:r>
              <a:rPr lang="pl-PL" sz="1800" i="1" dirty="0" smtClean="0">
                <a:solidFill>
                  <a:schemeClr val="tx1"/>
                </a:solidFill>
              </a:rPr>
              <a:t>„Ponadto </a:t>
            </a:r>
            <a:r>
              <a:rPr lang="pl-PL" sz="1800" i="1" dirty="0">
                <a:solidFill>
                  <a:schemeClr val="tx1"/>
                </a:solidFill>
              </a:rPr>
              <a:t>należy zauważyć, że sposób określania kosztów w oparciu o art. 22 ust. 1 </a:t>
            </a:r>
            <a:r>
              <a:rPr lang="pl-PL" sz="1800" i="1" dirty="0" err="1">
                <a:solidFill>
                  <a:schemeClr val="tx1"/>
                </a:solidFill>
              </a:rPr>
              <a:t>u.p.d.o.f</a:t>
            </a:r>
            <a:r>
              <a:rPr lang="pl-PL" sz="1800" i="1" dirty="0">
                <a:solidFill>
                  <a:schemeClr val="tx1"/>
                </a:solidFill>
              </a:rPr>
              <a:t>. stanowi o definitywnie poniesionym wydatku. Ma to zapobiegać m.in. temu, aby ten sam wydatek nie został kilkukrotnie rozliczony jako koszt uzyskania w odniesieniu do różnych źródeł przychodów. Jak wynika zaś z opisu stanu faktycznego jedynym wydatkiem poniesionym przez Skarżącą był ten związany z nabyciem ogółu praw i obowiązków w spółce jawnej od wspólników występujących z niej. Prócz tego nie były wnoszone żadne dodatkowe wkłady. To zatem te wydatki stanowią o wielkości obciążeń poniesionych w efekcie także na nabycie udziałów w spółce z ograniczoną odpowiedzialnością, po jej przekształceniu ze spółki jawnej. </a:t>
            </a:r>
            <a:endParaRPr lang="pl-PL" sz="1800" i="1" dirty="0" smtClean="0">
              <a:solidFill>
                <a:schemeClr val="tx1"/>
              </a:solidFill>
            </a:endParaRPr>
          </a:p>
          <a:p>
            <a:pPr lvl="0">
              <a:lnSpc>
                <a:spcPts val="2000"/>
              </a:lnSpc>
              <a:spcAft>
                <a:spcPts val="600"/>
              </a:spcAft>
            </a:pPr>
            <a:r>
              <a:rPr lang="pl-PL" sz="1800" i="1" dirty="0" smtClean="0">
                <a:solidFill>
                  <a:schemeClr val="tx1"/>
                </a:solidFill>
              </a:rPr>
              <a:t>(…) Takie </a:t>
            </a:r>
            <a:r>
              <a:rPr lang="pl-PL" sz="1800" i="1" dirty="0">
                <a:solidFill>
                  <a:schemeClr val="tx1"/>
                </a:solidFill>
              </a:rPr>
              <a:t>określenie kosztu uzyskania przychodu </a:t>
            </a:r>
            <a:r>
              <a:rPr lang="pl-PL" sz="1800" dirty="0" smtClean="0">
                <a:solidFill>
                  <a:schemeClr val="tx1"/>
                </a:solidFill>
              </a:rPr>
              <a:t>[</a:t>
            </a:r>
            <a:r>
              <a:rPr lang="pl-PL" sz="1800" u="sng" dirty="0" smtClean="0">
                <a:solidFill>
                  <a:schemeClr val="tx1"/>
                </a:solidFill>
              </a:rPr>
              <a:t>w przypadku stanowiska przeciwnego – uwaga AW]</a:t>
            </a:r>
            <a:r>
              <a:rPr lang="pl-PL" sz="1800" dirty="0" smtClean="0">
                <a:solidFill>
                  <a:schemeClr val="tx1"/>
                </a:solidFill>
              </a:rPr>
              <a:t> </a:t>
            </a:r>
            <a:r>
              <a:rPr lang="pl-PL" sz="1800" i="1" dirty="0" smtClean="0">
                <a:solidFill>
                  <a:schemeClr val="tx1"/>
                </a:solidFill>
              </a:rPr>
              <a:t>z </a:t>
            </a:r>
            <a:r>
              <a:rPr lang="pl-PL" sz="1800" i="1" dirty="0">
                <a:solidFill>
                  <a:schemeClr val="tx1"/>
                </a:solidFill>
              </a:rPr>
              <a:t>tytułu odpłatnego zbycia udziałów w spółce mającej osobowość prawną, o którym stanowił art. 17 ust. 1 pkt 6) </a:t>
            </a:r>
            <a:r>
              <a:rPr lang="pl-PL" sz="1800" i="1" dirty="0" err="1">
                <a:solidFill>
                  <a:schemeClr val="tx1"/>
                </a:solidFill>
              </a:rPr>
              <a:t>u.p.d.o.f</a:t>
            </a:r>
            <a:r>
              <a:rPr lang="pl-PL" sz="1800" i="1" dirty="0">
                <a:solidFill>
                  <a:schemeClr val="tx1"/>
                </a:solidFill>
              </a:rPr>
              <a:t>., sprzeczne jest z brzmieniem art. 22 ust. 1 </a:t>
            </a:r>
            <a:r>
              <a:rPr lang="pl-PL" sz="1800" i="1" dirty="0" err="1">
                <a:solidFill>
                  <a:schemeClr val="tx1"/>
                </a:solidFill>
              </a:rPr>
              <a:t>u.p.d.o.f</a:t>
            </a:r>
            <a:r>
              <a:rPr lang="pl-PL" sz="1800" i="1" dirty="0">
                <a:solidFill>
                  <a:schemeClr val="tx1"/>
                </a:solidFill>
              </a:rPr>
              <a:t>. i wymagałoby odpowiednich zapisów ustawy podatkowej. </a:t>
            </a:r>
            <a:r>
              <a:rPr lang="pl-PL" sz="1800" i="1" dirty="0" smtClean="0">
                <a:solidFill>
                  <a:schemeClr val="tx1"/>
                </a:solidFill>
              </a:rPr>
              <a:t>(…).</a:t>
            </a:r>
          </a:p>
          <a:p>
            <a:pPr lvl="0">
              <a:lnSpc>
                <a:spcPts val="2000"/>
              </a:lnSpc>
              <a:spcAft>
                <a:spcPts val="600"/>
              </a:spcAft>
            </a:pPr>
            <a:r>
              <a:rPr lang="pl-PL" sz="1800" i="1" dirty="0" smtClean="0">
                <a:solidFill>
                  <a:schemeClr val="tx1"/>
                </a:solidFill>
              </a:rPr>
              <a:t> </a:t>
            </a:r>
            <a:r>
              <a:rPr lang="pl-PL" sz="1800" i="1" dirty="0">
                <a:solidFill>
                  <a:schemeClr val="tx1"/>
                </a:solidFill>
              </a:rPr>
              <a:t>W konsekwencji na tle opisanego zdarzenia przyszłego kosztami będą wydatki poniesione przez Skarżącą na wkłady w przekształconej spółce osobowej, ponieważ tylko takie wydatki w opisie tym zostały wskazane</a:t>
            </a:r>
            <a:r>
              <a:rPr lang="pl-PL" sz="1800" i="1" dirty="0" smtClean="0">
                <a:solidFill>
                  <a:schemeClr val="tx1"/>
                </a:solidFill>
              </a:rPr>
              <a:t>.</a:t>
            </a:r>
            <a:r>
              <a:rPr lang="pl-PL" sz="1800" dirty="0" smtClean="0">
                <a:solidFill>
                  <a:schemeClr val="tx1"/>
                </a:solidFill>
              </a:rPr>
              <a:t>”</a:t>
            </a:r>
            <a:endParaRPr lang="pl-PL" sz="1800" dirty="0">
              <a:solidFill>
                <a:schemeClr val="tx1"/>
              </a:solidFill>
            </a:endParaRPr>
          </a:p>
        </p:txBody>
      </p:sp>
    </p:spTree>
    <p:extLst>
      <p:ext uri="{BB962C8B-B14F-4D97-AF65-F5344CB8AC3E}">
        <p14:creationId xmlns:p14="http://schemas.microsoft.com/office/powerpoint/2010/main" val="16415961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900" b="0" dirty="0" smtClean="0">
                <a:solidFill>
                  <a:schemeClr val="accent2"/>
                </a:solidFill>
              </a:rPr>
              <a:t>Sprzedaż spółki kapitałowej powstałej z przekształcenia spółki osobowej – koszty uzyskania przychodów</a:t>
            </a:r>
            <a:r>
              <a:rPr lang="pl-PL" sz="3200" dirty="0"/>
              <a:t/>
            </a:r>
            <a:br>
              <a:rPr lang="pl-PL" sz="3200" dirty="0"/>
            </a:br>
            <a:r>
              <a:rPr lang="pl-PL" sz="2200" b="0" dirty="0" smtClean="0">
                <a:solidFill>
                  <a:srgbClr val="002776"/>
                </a:solidFill>
              </a:rPr>
              <a:t>Wybrane stanowiska w podobnych sprawach</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8</a:t>
            </a:fld>
            <a:endParaRPr lang="en-GB" dirty="0">
              <a:solidFill>
                <a:srgbClr val="FFFFFF">
                  <a:lumMod val="65000"/>
                </a:srgbClr>
              </a:solidFill>
            </a:endParaRPr>
          </a:p>
        </p:txBody>
      </p:sp>
      <p:grpSp>
        <p:nvGrpSpPr>
          <p:cNvPr id="5" name="Group 4"/>
          <p:cNvGrpSpPr/>
          <p:nvPr/>
        </p:nvGrpSpPr>
        <p:grpSpPr>
          <a:xfrm>
            <a:off x="397701" y="1303781"/>
            <a:ext cx="9493315" cy="4742659"/>
            <a:chOff x="397701" y="1303781"/>
            <a:chExt cx="9493315" cy="4742659"/>
          </a:xfrm>
        </p:grpSpPr>
        <p:pic>
          <p:nvPicPr>
            <p:cNvPr id="19" name="Picture 18" descr="33.emf"/>
            <p:cNvPicPr>
              <a:picLocks noChangeAspect="1"/>
            </p:cNvPicPr>
            <p:nvPr/>
          </p:nvPicPr>
          <p:blipFill>
            <a:blip r:embed="rId2">
              <a:biLevel thresh="25000"/>
            </a:blip>
            <a:stretch>
              <a:fillRect/>
            </a:stretch>
          </p:blipFill>
          <p:spPr>
            <a:xfrm>
              <a:off x="6569034" y="1303781"/>
              <a:ext cx="382401" cy="354444"/>
            </a:xfrm>
            <a:prstGeom prst="rect">
              <a:avLst/>
            </a:prstGeom>
          </p:spPr>
        </p:pic>
        <p:grpSp>
          <p:nvGrpSpPr>
            <p:cNvPr id="20" name="Group 19"/>
            <p:cNvGrpSpPr/>
            <p:nvPr/>
          </p:nvGrpSpPr>
          <p:grpSpPr>
            <a:xfrm>
              <a:off x="3539801" y="2554356"/>
              <a:ext cx="1512907" cy="3085093"/>
              <a:chOff x="441224" y="3947435"/>
              <a:chExt cx="1512907" cy="3085093"/>
            </a:xfrm>
          </p:grpSpPr>
          <p:sp>
            <p:nvSpPr>
              <p:cNvPr id="28" name="Diagonal Stripe 27"/>
              <p:cNvSpPr/>
              <p:nvPr/>
            </p:nvSpPr>
            <p:spPr>
              <a:xfrm>
                <a:off x="441224" y="5519155"/>
                <a:ext cx="1512907" cy="1513373"/>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9" name="Diagonal Stripe 28"/>
              <p:cNvSpPr/>
              <p:nvPr/>
            </p:nvSpPr>
            <p:spPr>
              <a:xfrm flipV="1">
                <a:off x="441224" y="3947435"/>
                <a:ext cx="1512907" cy="1513373"/>
              </a:xfrm>
              <a:prstGeom prst="diagStripe">
                <a:avLst>
                  <a:gd name="adj" fmla="val 49149"/>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21" name="Group 20"/>
            <p:cNvGrpSpPr/>
            <p:nvPr/>
          </p:nvGrpSpPr>
          <p:grpSpPr>
            <a:xfrm>
              <a:off x="5093706" y="2542076"/>
              <a:ext cx="1512907" cy="3097373"/>
              <a:chOff x="1815129" y="3935155"/>
              <a:chExt cx="1512907" cy="3097373"/>
            </a:xfrm>
          </p:grpSpPr>
          <p:sp>
            <p:nvSpPr>
              <p:cNvPr id="24" name="Diagonal Stripe 23"/>
              <p:cNvSpPr/>
              <p:nvPr/>
            </p:nvSpPr>
            <p:spPr>
              <a:xfrm rot="10800000">
                <a:off x="1815129" y="3935155"/>
                <a:ext cx="1512907" cy="1513373"/>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 name="Diagonal Stripe 24"/>
              <p:cNvSpPr/>
              <p:nvPr/>
            </p:nvSpPr>
            <p:spPr>
              <a:xfrm rot="10800000" flipV="1">
                <a:off x="1815129" y="5519155"/>
                <a:ext cx="1512907" cy="1513373"/>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7" name="Freeform 11"/>
              <p:cNvSpPr>
                <a:spLocks noEditPoints="1"/>
              </p:cNvSpPr>
              <p:nvPr/>
            </p:nvSpPr>
            <p:spPr bwMode="auto">
              <a:xfrm>
                <a:off x="2916000" y="5303155"/>
                <a:ext cx="360000" cy="360000"/>
              </a:xfrm>
              <a:custGeom>
                <a:avLst/>
                <a:gdLst>
                  <a:gd name="T0" fmla="*/ 674 w 1284"/>
                  <a:gd name="T1" fmla="*/ 290 h 1188"/>
                  <a:gd name="T2" fmla="*/ 706 w 1284"/>
                  <a:gd name="T3" fmla="*/ 266 h 1188"/>
                  <a:gd name="T4" fmla="*/ 718 w 1284"/>
                  <a:gd name="T5" fmla="*/ 272 h 1188"/>
                  <a:gd name="T6" fmla="*/ 738 w 1284"/>
                  <a:gd name="T7" fmla="*/ 274 h 1188"/>
                  <a:gd name="T8" fmla="*/ 756 w 1284"/>
                  <a:gd name="T9" fmla="*/ 264 h 1188"/>
                  <a:gd name="T10" fmla="*/ 780 w 1284"/>
                  <a:gd name="T11" fmla="*/ 238 h 1188"/>
                  <a:gd name="T12" fmla="*/ 786 w 1284"/>
                  <a:gd name="T13" fmla="*/ 218 h 1188"/>
                  <a:gd name="T14" fmla="*/ 778 w 1284"/>
                  <a:gd name="T15" fmla="*/ 198 h 1188"/>
                  <a:gd name="T16" fmla="*/ 578 w 1284"/>
                  <a:gd name="T17" fmla="*/ 10 h 1188"/>
                  <a:gd name="T18" fmla="*/ 560 w 1284"/>
                  <a:gd name="T19" fmla="*/ 0 h 1188"/>
                  <a:gd name="T20" fmla="*/ 540 w 1284"/>
                  <a:gd name="T21" fmla="*/ 2 h 1188"/>
                  <a:gd name="T22" fmla="*/ 510 w 1284"/>
                  <a:gd name="T23" fmla="*/ 32 h 1188"/>
                  <a:gd name="T24" fmla="*/ 502 w 1284"/>
                  <a:gd name="T25" fmla="*/ 44 h 1188"/>
                  <a:gd name="T26" fmla="*/ 500 w 1284"/>
                  <a:gd name="T27" fmla="*/ 64 h 1188"/>
                  <a:gd name="T28" fmla="*/ 510 w 1284"/>
                  <a:gd name="T29" fmla="*/ 82 h 1188"/>
                  <a:gd name="T30" fmla="*/ 312 w 1284"/>
                  <a:gd name="T31" fmla="*/ 684 h 1188"/>
                  <a:gd name="T32" fmla="*/ 332 w 1284"/>
                  <a:gd name="T33" fmla="*/ 692 h 1188"/>
                  <a:gd name="T34" fmla="*/ 350 w 1284"/>
                  <a:gd name="T35" fmla="*/ 690 h 1188"/>
                  <a:gd name="T36" fmla="*/ 382 w 1284"/>
                  <a:gd name="T37" fmla="*/ 660 h 1188"/>
                  <a:gd name="T38" fmla="*/ 390 w 1284"/>
                  <a:gd name="T39" fmla="*/ 648 h 1188"/>
                  <a:gd name="T40" fmla="*/ 390 w 1284"/>
                  <a:gd name="T41" fmla="*/ 628 h 1188"/>
                  <a:gd name="T42" fmla="*/ 380 w 1284"/>
                  <a:gd name="T43" fmla="*/ 612 h 1188"/>
                  <a:gd name="T44" fmla="*/ 180 w 1284"/>
                  <a:gd name="T45" fmla="*/ 424 h 1188"/>
                  <a:gd name="T46" fmla="*/ 160 w 1284"/>
                  <a:gd name="T47" fmla="*/ 418 h 1188"/>
                  <a:gd name="T48" fmla="*/ 140 w 1284"/>
                  <a:gd name="T49" fmla="*/ 424 h 1188"/>
                  <a:gd name="T50" fmla="*/ 116 w 1284"/>
                  <a:gd name="T51" fmla="*/ 450 h 1188"/>
                  <a:gd name="T52" fmla="*/ 106 w 1284"/>
                  <a:gd name="T53" fmla="*/ 468 h 1188"/>
                  <a:gd name="T54" fmla="*/ 110 w 1284"/>
                  <a:gd name="T55" fmla="*/ 488 h 1188"/>
                  <a:gd name="T56" fmla="*/ 312 w 1284"/>
                  <a:gd name="T57" fmla="*/ 684 h 1188"/>
                  <a:gd name="T58" fmla="*/ 1174 w 1284"/>
                  <a:gd name="T59" fmla="*/ 1110 h 1188"/>
                  <a:gd name="T60" fmla="*/ 1204 w 1284"/>
                  <a:gd name="T61" fmla="*/ 1130 h 1188"/>
                  <a:gd name="T62" fmla="*/ 1234 w 1284"/>
                  <a:gd name="T63" fmla="*/ 1134 h 1188"/>
                  <a:gd name="T64" fmla="*/ 1276 w 1284"/>
                  <a:gd name="T65" fmla="*/ 1098 h 1188"/>
                  <a:gd name="T66" fmla="*/ 1284 w 1284"/>
                  <a:gd name="T67" fmla="*/ 1082 h 1188"/>
                  <a:gd name="T68" fmla="*/ 1278 w 1284"/>
                  <a:gd name="T69" fmla="*/ 1054 h 1188"/>
                  <a:gd name="T70" fmla="*/ 1256 w 1284"/>
                  <a:gd name="T71" fmla="*/ 1024 h 1188"/>
                  <a:gd name="T72" fmla="*/ 750 w 1284"/>
                  <a:gd name="T73" fmla="*/ 1108 h 1188"/>
                  <a:gd name="T74" fmla="*/ 744 w 1284"/>
                  <a:gd name="T75" fmla="*/ 1096 h 1188"/>
                  <a:gd name="T76" fmla="*/ 18 w 1284"/>
                  <a:gd name="T77" fmla="*/ 1092 h 1188"/>
                  <a:gd name="T78" fmla="*/ 6 w 1284"/>
                  <a:gd name="T79" fmla="*/ 1096 h 1188"/>
                  <a:gd name="T80" fmla="*/ 0 w 1284"/>
                  <a:gd name="T81" fmla="*/ 1170 h 1188"/>
                  <a:gd name="T82" fmla="*/ 6 w 1284"/>
                  <a:gd name="T83" fmla="*/ 1182 h 1188"/>
                  <a:gd name="T84" fmla="*/ 732 w 1284"/>
                  <a:gd name="T85" fmla="*/ 1188 h 1188"/>
                  <a:gd name="T86" fmla="*/ 744 w 1284"/>
                  <a:gd name="T87" fmla="*/ 1182 h 1188"/>
                  <a:gd name="T88" fmla="*/ 750 w 1284"/>
                  <a:gd name="T89" fmla="*/ 1108 h 1188"/>
                  <a:gd name="T90" fmla="*/ 588 w 1284"/>
                  <a:gd name="T91" fmla="*/ 976 h 1188"/>
                  <a:gd name="T92" fmla="*/ 612 w 1284"/>
                  <a:gd name="T93" fmla="*/ 982 h 1188"/>
                  <a:gd name="T94" fmla="*/ 630 w 1284"/>
                  <a:gd name="T95" fmla="*/ 998 h 1188"/>
                  <a:gd name="T96" fmla="*/ 638 w 1284"/>
                  <a:gd name="T97" fmla="*/ 1052 h 1188"/>
                  <a:gd name="T98" fmla="*/ 112 w 1284"/>
                  <a:gd name="T99" fmla="*/ 1012 h 1188"/>
                  <a:gd name="T100" fmla="*/ 126 w 1284"/>
                  <a:gd name="T101" fmla="*/ 992 h 1188"/>
                  <a:gd name="T102" fmla="*/ 146 w 1284"/>
                  <a:gd name="T103" fmla="*/ 978 h 1188"/>
                  <a:gd name="T104" fmla="*/ 164 w 1284"/>
                  <a:gd name="T105" fmla="*/ 976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4" h="1188">
                    <a:moveTo>
                      <a:pt x="218" y="402"/>
                    </a:moveTo>
                    <a:lnTo>
                      <a:pt x="488" y="116"/>
                    </a:lnTo>
                    <a:lnTo>
                      <a:pt x="674" y="290"/>
                    </a:lnTo>
                    <a:lnTo>
                      <a:pt x="404" y="578"/>
                    </a:lnTo>
                    <a:lnTo>
                      <a:pt x="218" y="402"/>
                    </a:lnTo>
                    <a:close/>
                    <a:moveTo>
                      <a:pt x="706" y="266"/>
                    </a:moveTo>
                    <a:lnTo>
                      <a:pt x="706" y="266"/>
                    </a:lnTo>
                    <a:lnTo>
                      <a:pt x="712" y="270"/>
                    </a:lnTo>
                    <a:lnTo>
                      <a:pt x="718" y="272"/>
                    </a:lnTo>
                    <a:lnTo>
                      <a:pt x="724" y="274"/>
                    </a:lnTo>
                    <a:lnTo>
                      <a:pt x="732" y="274"/>
                    </a:lnTo>
                    <a:lnTo>
                      <a:pt x="738" y="274"/>
                    </a:lnTo>
                    <a:lnTo>
                      <a:pt x="744" y="272"/>
                    </a:lnTo>
                    <a:lnTo>
                      <a:pt x="750" y="268"/>
                    </a:lnTo>
                    <a:lnTo>
                      <a:pt x="756" y="264"/>
                    </a:lnTo>
                    <a:lnTo>
                      <a:pt x="776" y="242"/>
                    </a:lnTo>
                    <a:lnTo>
                      <a:pt x="776" y="242"/>
                    </a:lnTo>
                    <a:lnTo>
                      <a:pt x="780" y="238"/>
                    </a:lnTo>
                    <a:lnTo>
                      <a:pt x="782" y="230"/>
                    </a:lnTo>
                    <a:lnTo>
                      <a:pt x="784" y="224"/>
                    </a:lnTo>
                    <a:lnTo>
                      <a:pt x="786" y="218"/>
                    </a:lnTo>
                    <a:lnTo>
                      <a:pt x="784" y="210"/>
                    </a:lnTo>
                    <a:lnTo>
                      <a:pt x="782" y="204"/>
                    </a:lnTo>
                    <a:lnTo>
                      <a:pt x="778" y="198"/>
                    </a:lnTo>
                    <a:lnTo>
                      <a:pt x="774" y="194"/>
                    </a:lnTo>
                    <a:lnTo>
                      <a:pt x="578" y="10"/>
                    </a:lnTo>
                    <a:lnTo>
                      <a:pt x="578" y="10"/>
                    </a:lnTo>
                    <a:lnTo>
                      <a:pt x="572" y="6"/>
                    </a:lnTo>
                    <a:lnTo>
                      <a:pt x="566" y="2"/>
                    </a:lnTo>
                    <a:lnTo>
                      <a:pt x="560" y="0"/>
                    </a:lnTo>
                    <a:lnTo>
                      <a:pt x="554" y="0"/>
                    </a:lnTo>
                    <a:lnTo>
                      <a:pt x="546" y="0"/>
                    </a:lnTo>
                    <a:lnTo>
                      <a:pt x="540" y="2"/>
                    </a:lnTo>
                    <a:lnTo>
                      <a:pt x="534" y="6"/>
                    </a:lnTo>
                    <a:lnTo>
                      <a:pt x="528" y="12"/>
                    </a:lnTo>
                    <a:lnTo>
                      <a:pt x="510" y="32"/>
                    </a:lnTo>
                    <a:lnTo>
                      <a:pt x="510" y="32"/>
                    </a:lnTo>
                    <a:lnTo>
                      <a:pt x="504" y="38"/>
                    </a:lnTo>
                    <a:lnTo>
                      <a:pt x="502" y="44"/>
                    </a:lnTo>
                    <a:lnTo>
                      <a:pt x="500" y="50"/>
                    </a:lnTo>
                    <a:lnTo>
                      <a:pt x="500" y="58"/>
                    </a:lnTo>
                    <a:lnTo>
                      <a:pt x="500" y="64"/>
                    </a:lnTo>
                    <a:lnTo>
                      <a:pt x="502" y="70"/>
                    </a:lnTo>
                    <a:lnTo>
                      <a:pt x="506" y="76"/>
                    </a:lnTo>
                    <a:lnTo>
                      <a:pt x="510" y="82"/>
                    </a:lnTo>
                    <a:lnTo>
                      <a:pt x="706" y="266"/>
                    </a:lnTo>
                    <a:close/>
                    <a:moveTo>
                      <a:pt x="312" y="684"/>
                    </a:moveTo>
                    <a:lnTo>
                      <a:pt x="312" y="684"/>
                    </a:lnTo>
                    <a:lnTo>
                      <a:pt x="318" y="688"/>
                    </a:lnTo>
                    <a:lnTo>
                      <a:pt x="324" y="690"/>
                    </a:lnTo>
                    <a:lnTo>
                      <a:pt x="332" y="692"/>
                    </a:lnTo>
                    <a:lnTo>
                      <a:pt x="338" y="692"/>
                    </a:lnTo>
                    <a:lnTo>
                      <a:pt x="344" y="692"/>
                    </a:lnTo>
                    <a:lnTo>
                      <a:pt x="350" y="690"/>
                    </a:lnTo>
                    <a:lnTo>
                      <a:pt x="356" y="686"/>
                    </a:lnTo>
                    <a:lnTo>
                      <a:pt x="362" y="682"/>
                    </a:lnTo>
                    <a:lnTo>
                      <a:pt x="382" y="660"/>
                    </a:lnTo>
                    <a:lnTo>
                      <a:pt x="382" y="660"/>
                    </a:lnTo>
                    <a:lnTo>
                      <a:pt x="386" y="656"/>
                    </a:lnTo>
                    <a:lnTo>
                      <a:pt x="390" y="648"/>
                    </a:lnTo>
                    <a:lnTo>
                      <a:pt x="392" y="642"/>
                    </a:lnTo>
                    <a:lnTo>
                      <a:pt x="392" y="636"/>
                    </a:lnTo>
                    <a:lnTo>
                      <a:pt x="390" y="628"/>
                    </a:lnTo>
                    <a:lnTo>
                      <a:pt x="388" y="622"/>
                    </a:lnTo>
                    <a:lnTo>
                      <a:pt x="386" y="616"/>
                    </a:lnTo>
                    <a:lnTo>
                      <a:pt x="380" y="612"/>
                    </a:lnTo>
                    <a:lnTo>
                      <a:pt x="184" y="428"/>
                    </a:lnTo>
                    <a:lnTo>
                      <a:pt x="184" y="428"/>
                    </a:lnTo>
                    <a:lnTo>
                      <a:pt x="180" y="424"/>
                    </a:lnTo>
                    <a:lnTo>
                      <a:pt x="174" y="420"/>
                    </a:lnTo>
                    <a:lnTo>
                      <a:pt x="166" y="418"/>
                    </a:lnTo>
                    <a:lnTo>
                      <a:pt x="160" y="418"/>
                    </a:lnTo>
                    <a:lnTo>
                      <a:pt x="154" y="418"/>
                    </a:lnTo>
                    <a:lnTo>
                      <a:pt x="146" y="420"/>
                    </a:lnTo>
                    <a:lnTo>
                      <a:pt x="140" y="424"/>
                    </a:lnTo>
                    <a:lnTo>
                      <a:pt x="136" y="428"/>
                    </a:lnTo>
                    <a:lnTo>
                      <a:pt x="116" y="450"/>
                    </a:lnTo>
                    <a:lnTo>
                      <a:pt x="116" y="450"/>
                    </a:lnTo>
                    <a:lnTo>
                      <a:pt x="112" y="456"/>
                    </a:lnTo>
                    <a:lnTo>
                      <a:pt x="108" y="462"/>
                    </a:lnTo>
                    <a:lnTo>
                      <a:pt x="106" y="468"/>
                    </a:lnTo>
                    <a:lnTo>
                      <a:pt x="106" y="476"/>
                    </a:lnTo>
                    <a:lnTo>
                      <a:pt x="106" y="482"/>
                    </a:lnTo>
                    <a:lnTo>
                      <a:pt x="110" y="488"/>
                    </a:lnTo>
                    <a:lnTo>
                      <a:pt x="112" y="494"/>
                    </a:lnTo>
                    <a:lnTo>
                      <a:pt x="118" y="500"/>
                    </a:lnTo>
                    <a:lnTo>
                      <a:pt x="312" y="684"/>
                    </a:lnTo>
                    <a:close/>
                    <a:moveTo>
                      <a:pt x="528" y="504"/>
                    </a:moveTo>
                    <a:lnTo>
                      <a:pt x="1174" y="1110"/>
                    </a:lnTo>
                    <a:lnTo>
                      <a:pt x="1174" y="1110"/>
                    </a:lnTo>
                    <a:lnTo>
                      <a:pt x="1184" y="1120"/>
                    </a:lnTo>
                    <a:lnTo>
                      <a:pt x="1194" y="1126"/>
                    </a:lnTo>
                    <a:lnTo>
                      <a:pt x="1204" y="1130"/>
                    </a:lnTo>
                    <a:lnTo>
                      <a:pt x="1216" y="1134"/>
                    </a:lnTo>
                    <a:lnTo>
                      <a:pt x="1226" y="1136"/>
                    </a:lnTo>
                    <a:lnTo>
                      <a:pt x="1234" y="1134"/>
                    </a:lnTo>
                    <a:lnTo>
                      <a:pt x="1242" y="1132"/>
                    </a:lnTo>
                    <a:lnTo>
                      <a:pt x="1248" y="1126"/>
                    </a:lnTo>
                    <a:lnTo>
                      <a:pt x="1276" y="1098"/>
                    </a:lnTo>
                    <a:lnTo>
                      <a:pt x="1276" y="1098"/>
                    </a:lnTo>
                    <a:lnTo>
                      <a:pt x="1280" y="1090"/>
                    </a:lnTo>
                    <a:lnTo>
                      <a:pt x="1284" y="1082"/>
                    </a:lnTo>
                    <a:lnTo>
                      <a:pt x="1284" y="1074"/>
                    </a:lnTo>
                    <a:lnTo>
                      <a:pt x="1282" y="1064"/>
                    </a:lnTo>
                    <a:lnTo>
                      <a:pt x="1278" y="1054"/>
                    </a:lnTo>
                    <a:lnTo>
                      <a:pt x="1272" y="1044"/>
                    </a:lnTo>
                    <a:lnTo>
                      <a:pt x="1264" y="1032"/>
                    </a:lnTo>
                    <a:lnTo>
                      <a:pt x="1256" y="1024"/>
                    </a:lnTo>
                    <a:lnTo>
                      <a:pt x="610" y="416"/>
                    </a:lnTo>
                    <a:lnTo>
                      <a:pt x="528" y="504"/>
                    </a:lnTo>
                    <a:close/>
                    <a:moveTo>
                      <a:pt x="750" y="1108"/>
                    </a:moveTo>
                    <a:lnTo>
                      <a:pt x="750" y="1108"/>
                    </a:lnTo>
                    <a:lnTo>
                      <a:pt x="748" y="1102"/>
                    </a:lnTo>
                    <a:lnTo>
                      <a:pt x="744" y="1096"/>
                    </a:lnTo>
                    <a:lnTo>
                      <a:pt x="738" y="1094"/>
                    </a:lnTo>
                    <a:lnTo>
                      <a:pt x="732" y="1092"/>
                    </a:lnTo>
                    <a:lnTo>
                      <a:pt x="18" y="1092"/>
                    </a:lnTo>
                    <a:lnTo>
                      <a:pt x="18" y="1092"/>
                    </a:lnTo>
                    <a:lnTo>
                      <a:pt x="12" y="1094"/>
                    </a:lnTo>
                    <a:lnTo>
                      <a:pt x="6" y="1096"/>
                    </a:lnTo>
                    <a:lnTo>
                      <a:pt x="2" y="1102"/>
                    </a:lnTo>
                    <a:lnTo>
                      <a:pt x="0" y="1108"/>
                    </a:lnTo>
                    <a:lnTo>
                      <a:pt x="0" y="1170"/>
                    </a:lnTo>
                    <a:lnTo>
                      <a:pt x="0" y="1170"/>
                    </a:lnTo>
                    <a:lnTo>
                      <a:pt x="2" y="1176"/>
                    </a:lnTo>
                    <a:lnTo>
                      <a:pt x="6" y="1182"/>
                    </a:lnTo>
                    <a:lnTo>
                      <a:pt x="12" y="1186"/>
                    </a:lnTo>
                    <a:lnTo>
                      <a:pt x="18" y="1188"/>
                    </a:lnTo>
                    <a:lnTo>
                      <a:pt x="732" y="1188"/>
                    </a:lnTo>
                    <a:lnTo>
                      <a:pt x="732" y="1188"/>
                    </a:lnTo>
                    <a:lnTo>
                      <a:pt x="738" y="1186"/>
                    </a:lnTo>
                    <a:lnTo>
                      <a:pt x="744" y="1182"/>
                    </a:lnTo>
                    <a:lnTo>
                      <a:pt x="748" y="1176"/>
                    </a:lnTo>
                    <a:lnTo>
                      <a:pt x="750" y="1170"/>
                    </a:lnTo>
                    <a:lnTo>
                      <a:pt x="750" y="1108"/>
                    </a:lnTo>
                    <a:close/>
                    <a:moveTo>
                      <a:pt x="164" y="976"/>
                    </a:moveTo>
                    <a:lnTo>
                      <a:pt x="588" y="976"/>
                    </a:lnTo>
                    <a:lnTo>
                      <a:pt x="588" y="976"/>
                    </a:lnTo>
                    <a:lnTo>
                      <a:pt x="596" y="976"/>
                    </a:lnTo>
                    <a:lnTo>
                      <a:pt x="604" y="978"/>
                    </a:lnTo>
                    <a:lnTo>
                      <a:pt x="612" y="982"/>
                    </a:lnTo>
                    <a:lnTo>
                      <a:pt x="620" y="986"/>
                    </a:lnTo>
                    <a:lnTo>
                      <a:pt x="626" y="992"/>
                    </a:lnTo>
                    <a:lnTo>
                      <a:pt x="630" y="998"/>
                    </a:lnTo>
                    <a:lnTo>
                      <a:pt x="636" y="1004"/>
                    </a:lnTo>
                    <a:lnTo>
                      <a:pt x="638" y="1012"/>
                    </a:lnTo>
                    <a:lnTo>
                      <a:pt x="638" y="1052"/>
                    </a:lnTo>
                    <a:lnTo>
                      <a:pt x="112" y="1052"/>
                    </a:lnTo>
                    <a:lnTo>
                      <a:pt x="112" y="1012"/>
                    </a:lnTo>
                    <a:lnTo>
                      <a:pt x="112" y="1012"/>
                    </a:lnTo>
                    <a:lnTo>
                      <a:pt x="116" y="1004"/>
                    </a:lnTo>
                    <a:lnTo>
                      <a:pt x="120" y="998"/>
                    </a:lnTo>
                    <a:lnTo>
                      <a:pt x="126" y="992"/>
                    </a:lnTo>
                    <a:lnTo>
                      <a:pt x="132" y="986"/>
                    </a:lnTo>
                    <a:lnTo>
                      <a:pt x="138" y="982"/>
                    </a:lnTo>
                    <a:lnTo>
                      <a:pt x="146" y="978"/>
                    </a:lnTo>
                    <a:lnTo>
                      <a:pt x="154" y="976"/>
                    </a:lnTo>
                    <a:lnTo>
                      <a:pt x="164" y="976"/>
                    </a:lnTo>
                    <a:lnTo>
                      <a:pt x="164" y="9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2" name="Rectangle 21"/>
            <p:cNvSpPr/>
            <p:nvPr/>
          </p:nvSpPr>
          <p:spPr>
            <a:xfrm>
              <a:off x="397701" y="1509936"/>
              <a:ext cx="3055437" cy="453650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50000"/>
                </a:lnSpc>
                <a:spcBef>
                  <a:spcPts val="600"/>
                </a:spcBef>
                <a:spcAft>
                  <a:spcPts val="600"/>
                </a:spcAft>
              </a:pPr>
              <a:r>
                <a:rPr lang="pl-PL" b="1" u="sng" dirty="0" smtClean="0">
                  <a:solidFill>
                    <a:srgbClr val="3C8A2E"/>
                  </a:solidFill>
                  <a:effectLst/>
                  <a:latin typeface="Arial" panose="020B0604020202020204" pitchFamily="34" charset="0"/>
                  <a:cs typeface="Arial" panose="020B0604020202020204" pitchFamily="34" charset="0"/>
                </a:rPr>
                <a:t>Stanowiska podobne:</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8 września 2016 roku, II FSK 2259/14</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24 listopada 2011 roku, sygn. akt II FSK 947/10 </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17 września 2015 roku, sygn. akt II FSK 1682/13</a:t>
              </a:r>
            </a:p>
            <a:p>
              <a:pPr>
                <a:lnSpc>
                  <a:spcPct val="150000"/>
                </a:lnSpc>
                <a:spcBef>
                  <a:spcPts val="600"/>
                </a:spcBef>
                <a:spcAft>
                  <a:spcPts val="600"/>
                </a:spcAft>
              </a:pPr>
              <a:endParaRPr lang="pl-PL" dirty="0">
                <a:solidFill>
                  <a:srgbClr val="313131"/>
                </a:solidFill>
                <a:latin typeface="Arial" panose="020B0604020202020204" pitchFamily="34" charset="0"/>
                <a:cs typeface="Arial" panose="020B0604020202020204" pitchFamily="34" charset="0"/>
              </a:endParaRPr>
            </a:p>
          </p:txBody>
        </p:sp>
        <p:sp>
          <p:nvSpPr>
            <p:cNvPr id="23" name="Rectangle 22"/>
            <p:cNvSpPr/>
            <p:nvPr/>
          </p:nvSpPr>
          <p:spPr>
            <a:xfrm>
              <a:off x="6737262" y="1510280"/>
              <a:ext cx="3153754" cy="3096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50000"/>
                </a:lnSpc>
                <a:spcAft>
                  <a:spcPts val="600"/>
                </a:spcAft>
              </a:pPr>
              <a:r>
                <a:rPr lang="pl-PL" b="1" u="sng" dirty="0" smtClean="0">
                  <a:solidFill>
                    <a:srgbClr val="002776"/>
                  </a:solidFill>
                  <a:latin typeface="Arial" panose="020B0604020202020204" pitchFamily="34" charset="0"/>
                  <a:cs typeface="Arial" panose="020B0604020202020204" pitchFamily="34" charset="0"/>
                </a:rPr>
                <a:t>Stanowiska odmienne:</a:t>
              </a:r>
            </a:p>
            <a:p>
              <a:pPr marL="171450" indent="-171450">
                <a:lnSpc>
                  <a:spcPct val="150000"/>
                </a:lnSpc>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20 sierpnia 2015 roku, II FSK 1259/15</a:t>
              </a:r>
            </a:p>
            <a:p>
              <a:pPr marL="171450" indent="-171450">
                <a:lnSpc>
                  <a:spcPct val="150000"/>
                </a:lnSpc>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16 lutego 2016 roku, sygn.. II FSK 3570/13</a:t>
              </a:r>
            </a:p>
            <a:p>
              <a:pPr marL="171450" indent="-171450">
                <a:lnSpc>
                  <a:spcPct val="150000"/>
                </a:lnSpc>
                <a:spcAft>
                  <a:spcPts val="600"/>
                </a:spcAft>
                <a:buFont typeface="Arial" panose="020B0604020202020204" pitchFamily="34" charset="0"/>
                <a:buChar char="•"/>
              </a:pPr>
              <a:r>
                <a:rPr lang="pl-PL" sz="1600" dirty="0" smtClean="0">
                  <a:solidFill>
                    <a:srgbClr val="313131"/>
                  </a:solidFill>
                  <a:latin typeface="Arial" panose="020B0604020202020204" pitchFamily="34" charset="0"/>
                  <a:cs typeface="Arial" panose="020B0604020202020204" pitchFamily="34" charset="0"/>
                </a:rPr>
                <a:t>Dyrektor </a:t>
              </a:r>
              <a:r>
                <a:rPr lang="pl-PL" sz="1600" dirty="0">
                  <a:solidFill>
                    <a:srgbClr val="313131"/>
                  </a:solidFill>
                  <a:latin typeface="Arial" panose="020B0604020202020204" pitchFamily="34" charset="0"/>
                  <a:cs typeface="Arial" panose="020B0604020202020204" pitchFamily="34" charset="0"/>
                </a:rPr>
                <a:t>IS w Warszawie z dnia 4 września 2015 roku, sygn.. </a:t>
              </a:r>
              <a:r>
                <a:rPr lang="pl-PL" sz="1600" dirty="0" smtClean="0">
                  <a:solidFill>
                    <a:srgbClr val="313131"/>
                  </a:solidFill>
                  <a:latin typeface="Arial" panose="020B0604020202020204" pitchFamily="34" charset="0"/>
                  <a:cs typeface="Arial" panose="020B0604020202020204" pitchFamily="34" charset="0"/>
                </a:rPr>
                <a:t>IPPB1/4511-796/15-5/MM; Dyrektor </a:t>
              </a:r>
              <a:r>
                <a:rPr lang="pl-PL" sz="1600" dirty="0">
                  <a:solidFill>
                    <a:srgbClr val="313131"/>
                  </a:solidFill>
                  <a:latin typeface="Arial" panose="020B0604020202020204" pitchFamily="34" charset="0"/>
                  <a:cs typeface="Arial" panose="020B0604020202020204" pitchFamily="34" charset="0"/>
                </a:rPr>
                <a:t>IS w Łodzi z dnia 7 lutego 2017 roku, sygn. 1061- </a:t>
              </a:r>
              <a:r>
                <a:rPr lang="pl-PL" sz="1600" dirty="0" smtClean="0">
                  <a:solidFill>
                    <a:srgbClr val="313131"/>
                  </a:solidFill>
                  <a:latin typeface="Arial" panose="020B0604020202020204" pitchFamily="34" charset="0"/>
                  <a:cs typeface="Arial" panose="020B0604020202020204" pitchFamily="34" charset="0"/>
                </a:rPr>
                <a:t>IPTPB3.4511.875.2016.1.KJ</a:t>
              </a:r>
              <a:endParaRPr lang="pl-PL" sz="1600" dirty="0">
                <a:solidFill>
                  <a:srgbClr val="313131"/>
                </a:solidFill>
                <a:latin typeface="Arial" panose="020B0604020202020204" pitchFamily="34" charset="0"/>
                <a:cs typeface="Arial" panose="020B0604020202020204" pitchFamily="34" charset="0"/>
              </a:endParaRPr>
            </a:p>
          </p:txBody>
        </p:sp>
        <p:sp>
          <p:nvSpPr>
            <p:cNvPr id="35" name="Freeform 15"/>
            <p:cNvSpPr>
              <a:spLocks noEditPoints="1"/>
            </p:cNvSpPr>
            <p:nvPr/>
          </p:nvSpPr>
          <p:spPr bwMode="auto">
            <a:xfrm>
              <a:off x="3514540" y="3809918"/>
              <a:ext cx="550158" cy="550158"/>
            </a:xfrm>
            <a:custGeom>
              <a:avLst/>
              <a:gdLst>
                <a:gd name="T0" fmla="*/ 410 w 820"/>
                <a:gd name="T1" fmla="*/ 0 h 820"/>
                <a:gd name="T2" fmla="*/ 326 w 820"/>
                <a:gd name="T3" fmla="*/ 8 h 820"/>
                <a:gd name="T4" fmla="*/ 250 w 820"/>
                <a:gd name="T5" fmla="*/ 32 h 820"/>
                <a:gd name="T6" fmla="*/ 180 w 820"/>
                <a:gd name="T7" fmla="*/ 70 h 820"/>
                <a:gd name="T8" fmla="*/ 120 w 820"/>
                <a:gd name="T9" fmla="*/ 120 h 820"/>
                <a:gd name="T10" fmla="*/ 70 w 820"/>
                <a:gd name="T11" fmla="*/ 182 h 820"/>
                <a:gd name="T12" fmla="*/ 32 w 820"/>
                <a:gd name="T13" fmla="*/ 250 h 820"/>
                <a:gd name="T14" fmla="*/ 8 w 820"/>
                <a:gd name="T15" fmla="*/ 328 h 820"/>
                <a:gd name="T16" fmla="*/ 0 w 820"/>
                <a:gd name="T17" fmla="*/ 410 h 820"/>
                <a:gd name="T18" fmla="*/ 2 w 820"/>
                <a:gd name="T19" fmla="*/ 452 h 820"/>
                <a:gd name="T20" fmla="*/ 18 w 820"/>
                <a:gd name="T21" fmla="*/ 532 h 820"/>
                <a:gd name="T22" fmla="*/ 48 w 820"/>
                <a:gd name="T23" fmla="*/ 606 h 820"/>
                <a:gd name="T24" fmla="*/ 92 w 820"/>
                <a:gd name="T25" fmla="*/ 672 h 820"/>
                <a:gd name="T26" fmla="*/ 148 w 820"/>
                <a:gd name="T27" fmla="*/ 726 h 820"/>
                <a:gd name="T28" fmla="*/ 214 w 820"/>
                <a:gd name="T29" fmla="*/ 770 h 820"/>
                <a:gd name="T30" fmla="*/ 288 w 820"/>
                <a:gd name="T31" fmla="*/ 802 h 820"/>
                <a:gd name="T32" fmla="*/ 368 w 820"/>
                <a:gd name="T33" fmla="*/ 818 h 820"/>
                <a:gd name="T34" fmla="*/ 410 w 820"/>
                <a:gd name="T35" fmla="*/ 820 h 820"/>
                <a:gd name="T36" fmla="*/ 492 w 820"/>
                <a:gd name="T37" fmla="*/ 812 h 820"/>
                <a:gd name="T38" fmla="*/ 568 w 820"/>
                <a:gd name="T39" fmla="*/ 788 h 820"/>
                <a:gd name="T40" fmla="*/ 638 w 820"/>
                <a:gd name="T41" fmla="*/ 750 h 820"/>
                <a:gd name="T42" fmla="*/ 700 w 820"/>
                <a:gd name="T43" fmla="*/ 700 h 820"/>
                <a:gd name="T44" fmla="*/ 750 w 820"/>
                <a:gd name="T45" fmla="*/ 640 h 820"/>
                <a:gd name="T46" fmla="*/ 786 w 820"/>
                <a:gd name="T47" fmla="*/ 570 h 820"/>
                <a:gd name="T48" fmla="*/ 810 w 820"/>
                <a:gd name="T49" fmla="*/ 494 h 820"/>
                <a:gd name="T50" fmla="*/ 820 w 820"/>
                <a:gd name="T51" fmla="*/ 410 h 820"/>
                <a:gd name="T52" fmla="*/ 818 w 820"/>
                <a:gd name="T53" fmla="*/ 368 h 820"/>
                <a:gd name="T54" fmla="*/ 800 w 820"/>
                <a:gd name="T55" fmla="*/ 288 h 820"/>
                <a:gd name="T56" fmla="*/ 770 w 820"/>
                <a:gd name="T57" fmla="*/ 216 h 820"/>
                <a:gd name="T58" fmla="*/ 726 w 820"/>
                <a:gd name="T59" fmla="*/ 150 h 820"/>
                <a:gd name="T60" fmla="*/ 670 w 820"/>
                <a:gd name="T61" fmla="*/ 94 h 820"/>
                <a:gd name="T62" fmla="*/ 604 w 820"/>
                <a:gd name="T63" fmla="*/ 50 h 820"/>
                <a:gd name="T64" fmla="*/ 532 w 820"/>
                <a:gd name="T65" fmla="*/ 18 h 820"/>
                <a:gd name="T66" fmla="*/ 452 w 820"/>
                <a:gd name="T67" fmla="*/ 2 h 820"/>
                <a:gd name="T68" fmla="*/ 410 w 820"/>
                <a:gd name="T69" fmla="*/ 0 h 820"/>
                <a:gd name="T70" fmla="*/ 460 w 820"/>
                <a:gd name="T71" fmla="*/ 656 h 820"/>
                <a:gd name="T72" fmla="*/ 360 w 820"/>
                <a:gd name="T73" fmla="*/ 460 h 820"/>
                <a:gd name="T74" fmla="*/ 162 w 820"/>
                <a:gd name="T75" fmla="*/ 360 h 820"/>
                <a:gd name="T76" fmla="*/ 360 w 820"/>
                <a:gd name="T77" fmla="*/ 164 h 820"/>
                <a:gd name="T78" fmla="*/ 460 w 820"/>
                <a:gd name="T79" fmla="*/ 360 h 820"/>
                <a:gd name="T80" fmla="*/ 656 w 820"/>
                <a:gd name="T81" fmla="*/ 46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0" h="820">
                  <a:moveTo>
                    <a:pt x="410" y="0"/>
                  </a:moveTo>
                  <a:lnTo>
                    <a:pt x="410" y="0"/>
                  </a:lnTo>
                  <a:lnTo>
                    <a:pt x="368" y="2"/>
                  </a:lnTo>
                  <a:lnTo>
                    <a:pt x="326" y="8"/>
                  </a:lnTo>
                  <a:lnTo>
                    <a:pt x="288" y="18"/>
                  </a:lnTo>
                  <a:lnTo>
                    <a:pt x="250" y="32"/>
                  </a:lnTo>
                  <a:lnTo>
                    <a:pt x="214" y="50"/>
                  </a:lnTo>
                  <a:lnTo>
                    <a:pt x="180" y="70"/>
                  </a:lnTo>
                  <a:lnTo>
                    <a:pt x="148" y="94"/>
                  </a:lnTo>
                  <a:lnTo>
                    <a:pt x="120" y="120"/>
                  </a:lnTo>
                  <a:lnTo>
                    <a:pt x="92" y="150"/>
                  </a:lnTo>
                  <a:lnTo>
                    <a:pt x="70" y="182"/>
                  </a:lnTo>
                  <a:lnTo>
                    <a:pt x="48" y="216"/>
                  </a:lnTo>
                  <a:lnTo>
                    <a:pt x="32" y="250"/>
                  </a:lnTo>
                  <a:lnTo>
                    <a:pt x="18" y="288"/>
                  </a:lnTo>
                  <a:lnTo>
                    <a:pt x="8" y="328"/>
                  </a:lnTo>
                  <a:lnTo>
                    <a:pt x="2" y="368"/>
                  </a:lnTo>
                  <a:lnTo>
                    <a:pt x="0" y="410"/>
                  </a:lnTo>
                  <a:lnTo>
                    <a:pt x="0" y="410"/>
                  </a:lnTo>
                  <a:lnTo>
                    <a:pt x="2" y="452"/>
                  </a:lnTo>
                  <a:lnTo>
                    <a:pt x="8" y="494"/>
                  </a:lnTo>
                  <a:lnTo>
                    <a:pt x="18" y="532"/>
                  </a:lnTo>
                  <a:lnTo>
                    <a:pt x="32" y="570"/>
                  </a:lnTo>
                  <a:lnTo>
                    <a:pt x="48" y="606"/>
                  </a:lnTo>
                  <a:lnTo>
                    <a:pt x="70" y="640"/>
                  </a:lnTo>
                  <a:lnTo>
                    <a:pt x="92" y="672"/>
                  </a:lnTo>
                  <a:lnTo>
                    <a:pt x="120" y="700"/>
                  </a:lnTo>
                  <a:lnTo>
                    <a:pt x="148" y="726"/>
                  </a:lnTo>
                  <a:lnTo>
                    <a:pt x="180" y="750"/>
                  </a:lnTo>
                  <a:lnTo>
                    <a:pt x="214" y="770"/>
                  </a:lnTo>
                  <a:lnTo>
                    <a:pt x="250" y="788"/>
                  </a:lnTo>
                  <a:lnTo>
                    <a:pt x="288" y="802"/>
                  </a:lnTo>
                  <a:lnTo>
                    <a:pt x="326" y="812"/>
                  </a:lnTo>
                  <a:lnTo>
                    <a:pt x="368" y="818"/>
                  </a:lnTo>
                  <a:lnTo>
                    <a:pt x="410" y="820"/>
                  </a:lnTo>
                  <a:lnTo>
                    <a:pt x="410" y="820"/>
                  </a:lnTo>
                  <a:lnTo>
                    <a:pt x="452" y="818"/>
                  </a:lnTo>
                  <a:lnTo>
                    <a:pt x="492" y="812"/>
                  </a:lnTo>
                  <a:lnTo>
                    <a:pt x="532" y="802"/>
                  </a:lnTo>
                  <a:lnTo>
                    <a:pt x="568" y="788"/>
                  </a:lnTo>
                  <a:lnTo>
                    <a:pt x="604" y="770"/>
                  </a:lnTo>
                  <a:lnTo>
                    <a:pt x="638" y="750"/>
                  </a:lnTo>
                  <a:lnTo>
                    <a:pt x="670" y="726"/>
                  </a:lnTo>
                  <a:lnTo>
                    <a:pt x="700" y="700"/>
                  </a:lnTo>
                  <a:lnTo>
                    <a:pt x="726" y="672"/>
                  </a:lnTo>
                  <a:lnTo>
                    <a:pt x="750" y="640"/>
                  </a:lnTo>
                  <a:lnTo>
                    <a:pt x="770" y="606"/>
                  </a:lnTo>
                  <a:lnTo>
                    <a:pt x="786" y="570"/>
                  </a:lnTo>
                  <a:lnTo>
                    <a:pt x="800" y="532"/>
                  </a:lnTo>
                  <a:lnTo>
                    <a:pt x="810" y="494"/>
                  </a:lnTo>
                  <a:lnTo>
                    <a:pt x="818" y="452"/>
                  </a:lnTo>
                  <a:lnTo>
                    <a:pt x="820" y="410"/>
                  </a:lnTo>
                  <a:lnTo>
                    <a:pt x="820" y="410"/>
                  </a:lnTo>
                  <a:lnTo>
                    <a:pt x="818" y="368"/>
                  </a:lnTo>
                  <a:lnTo>
                    <a:pt x="810" y="328"/>
                  </a:lnTo>
                  <a:lnTo>
                    <a:pt x="800" y="288"/>
                  </a:lnTo>
                  <a:lnTo>
                    <a:pt x="786" y="250"/>
                  </a:lnTo>
                  <a:lnTo>
                    <a:pt x="770" y="216"/>
                  </a:lnTo>
                  <a:lnTo>
                    <a:pt x="750" y="182"/>
                  </a:lnTo>
                  <a:lnTo>
                    <a:pt x="726" y="150"/>
                  </a:lnTo>
                  <a:lnTo>
                    <a:pt x="700" y="120"/>
                  </a:lnTo>
                  <a:lnTo>
                    <a:pt x="670" y="94"/>
                  </a:lnTo>
                  <a:lnTo>
                    <a:pt x="638" y="70"/>
                  </a:lnTo>
                  <a:lnTo>
                    <a:pt x="604" y="50"/>
                  </a:lnTo>
                  <a:lnTo>
                    <a:pt x="568" y="32"/>
                  </a:lnTo>
                  <a:lnTo>
                    <a:pt x="532" y="18"/>
                  </a:lnTo>
                  <a:lnTo>
                    <a:pt x="492" y="8"/>
                  </a:lnTo>
                  <a:lnTo>
                    <a:pt x="452" y="2"/>
                  </a:lnTo>
                  <a:lnTo>
                    <a:pt x="410" y="0"/>
                  </a:lnTo>
                  <a:lnTo>
                    <a:pt x="410" y="0"/>
                  </a:lnTo>
                  <a:close/>
                  <a:moveTo>
                    <a:pt x="460" y="460"/>
                  </a:moveTo>
                  <a:lnTo>
                    <a:pt x="460" y="656"/>
                  </a:lnTo>
                  <a:lnTo>
                    <a:pt x="360" y="656"/>
                  </a:lnTo>
                  <a:lnTo>
                    <a:pt x="360" y="460"/>
                  </a:lnTo>
                  <a:lnTo>
                    <a:pt x="162" y="460"/>
                  </a:lnTo>
                  <a:lnTo>
                    <a:pt x="162" y="360"/>
                  </a:lnTo>
                  <a:lnTo>
                    <a:pt x="360" y="360"/>
                  </a:lnTo>
                  <a:lnTo>
                    <a:pt x="360" y="164"/>
                  </a:lnTo>
                  <a:lnTo>
                    <a:pt x="460" y="164"/>
                  </a:lnTo>
                  <a:lnTo>
                    <a:pt x="460" y="360"/>
                  </a:lnTo>
                  <a:lnTo>
                    <a:pt x="656" y="360"/>
                  </a:lnTo>
                  <a:lnTo>
                    <a:pt x="656" y="460"/>
                  </a:lnTo>
                  <a:lnTo>
                    <a:pt x="460" y="460"/>
                  </a:lnTo>
                  <a:close/>
                </a:path>
              </a:pathLst>
            </a:custGeom>
            <a:solidFill>
              <a:srgbClr val="81BC00"/>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p:nvSpPr>
          <p:spPr bwMode="auto">
            <a:xfrm>
              <a:off x="6064911" y="3809918"/>
              <a:ext cx="551068" cy="551068"/>
            </a:xfrm>
            <a:custGeom>
              <a:avLst/>
              <a:gdLst>
                <a:gd name="T0" fmla="*/ 410 w 820"/>
                <a:gd name="T1" fmla="*/ 0 h 820"/>
                <a:gd name="T2" fmla="*/ 326 w 820"/>
                <a:gd name="T3" fmla="*/ 8 h 820"/>
                <a:gd name="T4" fmla="*/ 250 w 820"/>
                <a:gd name="T5" fmla="*/ 32 h 820"/>
                <a:gd name="T6" fmla="*/ 180 w 820"/>
                <a:gd name="T7" fmla="*/ 70 h 820"/>
                <a:gd name="T8" fmla="*/ 120 w 820"/>
                <a:gd name="T9" fmla="*/ 120 h 820"/>
                <a:gd name="T10" fmla="*/ 70 w 820"/>
                <a:gd name="T11" fmla="*/ 182 h 820"/>
                <a:gd name="T12" fmla="*/ 32 w 820"/>
                <a:gd name="T13" fmla="*/ 250 h 820"/>
                <a:gd name="T14" fmla="*/ 8 w 820"/>
                <a:gd name="T15" fmla="*/ 328 h 820"/>
                <a:gd name="T16" fmla="*/ 0 w 820"/>
                <a:gd name="T17" fmla="*/ 410 h 820"/>
                <a:gd name="T18" fmla="*/ 2 w 820"/>
                <a:gd name="T19" fmla="*/ 452 h 820"/>
                <a:gd name="T20" fmla="*/ 18 w 820"/>
                <a:gd name="T21" fmla="*/ 532 h 820"/>
                <a:gd name="T22" fmla="*/ 50 w 820"/>
                <a:gd name="T23" fmla="*/ 606 h 820"/>
                <a:gd name="T24" fmla="*/ 94 w 820"/>
                <a:gd name="T25" fmla="*/ 672 h 820"/>
                <a:gd name="T26" fmla="*/ 148 w 820"/>
                <a:gd name="T27" fmla="*/ 726 h 820"/>
                <a:gd name="T28" fmla="*/ 214 w 820"/>
                <a:gd name="T29" fmla="*/ 770 h 820"/>
                <a:gd name="T30" fmla="*/ 288 w 820"/>
                <a:gd name="T31" fmla="*/ 802 h 820"/>
                <a:gd name="T32" fmla="*/ 368 w 820"/>
                <a:gd name="T33" fmla="*/ 818 h 820"/>
                <a:gd name="T34" fmla="*/ 410 w 820"/>
                <a:gd name="T35" fmla="*/ 820 h 820"/>
                <a:gd name="T36" fmla="*/ 492 w 820"/>
                <a:gd name="T37" fmla="*/ 812 h 820"/>
                <a:gd name="T38" fmla="*/ 570 w 820"/>
                <a:gd name="T39" fmla="*/ 788 h 820"/>
                <a:gd name="T40" fmla="*/ 638 w 820"/>
                <a:gd name="T41" fmla="*/ 750 h 820"/>
                <a:gd name="T42" fmla="*/ 700 w 820"/>
                <a:gd name="T43" fmla="*/ 700 h 820"/>
                <a:gd name="T44" fmla="*/ 750 w 820"/>
                <a:gd name="T45" fmla="*/ 640 h 820"/>
                <a:gd name="T46" fmla="*/ 788 w 820"/>
                <a:gd name="T47" fmla="*/ 570 h 820"/>
                <a:gd name="T48" fmla="*/ 810 w 820"/>
                <a:gd name="T49" fmla="*/ 494 h 820"/>
                <a:gd name="T50" fmla="*/ 820 w 820"/>
                <a:gd name="T51" fmla="*/ 410 h 820"/>
                <a:gd name="T52" fmla="*/ 818 w 820"/>
                <a:gd name="T53" fmla="*/ 368 h 820"/>
                <a:gd name="T54" fmla="*/ 800 w 820"/>
                <a:gd name="T55" fmla="*/ 288 h 820"/>
                <a:gd name="T56" fmla="*/ 770 w 820"/>
                <a:gd name="T57" fmla="*/ 216 h 820"/>
                <a:gd name="T58" fmla="*/ 726 w 820"/>
                <a:gd name="T59" fmla="*/ 150 h 820"/>
                <a:gd name="T60" fmla="*/ 670 w 820"/>
                <a:gd name="T61" fmla="*/ 94 h 820"/>
                <a:gd name="T62" fmla="*/ 604 w 820"/>
                <a:gd name="T63" fmla="*/ 50 h 820"/>
                <a:gd name="T64" fmla="*/ 532 w 820"/>
                <a:gd name="T65" fmla="*/ 18 h 820"/>
                <a:gd name="T66" fmla="*/ 452 w 820"/>
                <a:gd name="T67" fmla="*/ 2 h 820"/>
                <a:gd name="T68" fmla="*/ 410 w 820"/>
                <a:gd name="T69" fmla="*/ 0 h 820"/>
                <a:gd name="T70" fmla="*/ 656 w 820"/>
                <a:gd name="T71" fmla="*/ 460 h 820"/>
                <a:gd name="T72" fmla="*/ 164 w 820"/>
                <a:gd name="T73" fmla="*/ 36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820">
                  <a:moveTo>
                    <a:pt x="410" y="0"/>
                  </a:moveTo>
                  <a:lnTo>
                    <a:pt x="410" y="0"/>
                  </a:lnTo>
                  <a:lnTo>
                    <a:pt x="368" y="2"/>
                  </a:lnTo>
                  <a:lnTo>
                    <a:pt x="326" y="8"/>
                  </a:lnTo>
                  <a:lnTo>
                    <a:pt x="288" y="18"/>
                  </a:lnTo>
                  <a:lnTo>
                    <a:pt x="250" y="32"/>
                  </a:lnTo>
                  <a:lnTo>
                    <a:pt x="214" y="50"/>
                  </a:lnTo>
                  <a:lnTo>
                    <a:pt x="180" y="70"/>
                  </a:lnTo>
                  <a:lnTo>
                    <a:pt x="148" y="94"/>
                  </a:lnTo>
                  <a:lnTo>
                    <a:pt x="120" y="120"/>
                  </a:lnTo>
                  <a:lnTo>
                    <a:pt x="94" y="150"/>
                  </a:lnTo>
                  <a:lnTo>
                    <a:pt x="70" y="182"/>
                  </a:lnTo>
                  <a:lnTo>
                    <a:pt x="50" y="216"/>
                  </a:lnTo>
                  <a:lnTo>
                    <a:pt x="32" y="250"/>
                  </a:lnTo>
                  <a:lnTo>
                    <a:pt x="18" y="288"/>
                  </a:lnTo>
                  <a:lnTo>
                    <a:pt x="8" y="328"/>
                  </a:lnTo>
                  <a:lnTo>
                    <a:pt x="2" y="368"/>
                  </a:lnTo>
                  <a:lnTo>
                    <a:pt x="0" y="410"/>
                  </a:lnTo>
                  <a:lnTo>
                    <a:pt x="0" y="410"/>
                  </a:lnTo>
                  <a:lnTo>
                    <a:pt x="2" y="452"/>
                  </a:lnTo>
                  <a:lnTo>
                    <a:pt x="8" y="494"/>
                  </a:lnTo>
                  <a:lnTo>
                    <a:pt x="18" y="532"/>
                  </a:lnTo>
                  <a:lnTo>
                    <a:pt x="32" y="570"/>
                  </a:lnTo>
                  <a:lnTo>
                    <a:pt x="50" y="606"/>
                  </a:lnTo>
                  <a:lnTo>
                    <a:pt x="70" y="640"/>
                  </a:lnTo>
                  <a:lnTo>
                    <a:pt x="94" y="672"/>
                  </a:lnTo>
                  <a:lnTo>
                    <a:pt x="120" y="700"/>
                  </a:lnTo>
                  <a:lnTo>
                    <a:pt x="148" y="726"/>
                  </a:lnTo>
                  <a:lnTo>
                    <a:pt x="180" y="750"/>
                  </a:lnTo>
                  <a:lnTo>
                    <a:pt x="214" y="770"/>
                  </a:lnTo>
                  <a:lnTo>
                    <a:pt x="250" y="788"/>
                  </a:lnTo>
                  <a:lnTo>
                    <a:pt x="288" y="802"/>
                  </a:lnTo>
                  <a:lnTo>
                    <a:pt x="326" y="812"/>
                  </a:lnTo>
                  <a:lnTo>
                    <a:pt x="368" y="818"/>
                  </a:lnTo>
                  <a:lnTo>
                    <a:pt x="410" y="820"/>
                  </a:lnTo>
                  <a:lnTo>
                    <a:pt x="410" y="820"/>
                  </a:lnTo>
                  <a:lnTo>
                    <a:pt x="452" y="818"/>
                  </a:lnTo>
                  <a:lnTo>
                    <a:pt x="492" y="812"/>
                  </a:lnTo>
                  <a:lnTo>
                    <a:pt x="532" y="802"/>
                  </a:lnTo>
                  <a:lnTo>
                    <a:pt x="570" y="788"/>
                  </a:lnTo>
                  <a:lnTo>
                    <a:pt x="604" y="770"/>
                  </a:lnTo>
                  <a:lnTo>
                    <a:pt x="638" y="750"/>
                  </a:lnTo>
                  <a:lnTo>
                    <a:pt x="670" y="726"/>
                  </a:lnTo>
                  <a:lnTo>
                    <a:pt x="700" y="700"/>
                  </a:lnTo>
                  <a:lnTo>
                    <a:pt x="726" y="672"/>
                  </a:lnTo>
                  <a:lnTo>
                    <a:pt x="750" y="640"/>
                  </a:lnTo>
                  <a:lnTo>
                    <a:pt x="770" y="606"/>
                  </a:lnTo>
                  <a:lnTo>
                    <a:pt x="788" y="570"/>
                  </a:lnTo>
                  <a:lnTo>
                    <a:pt x="800" y="532"/>
                  </a:lnTo>
                  <a:lnTo>
                    <a:pt x="810" y="494"/>
                  </a:lnTo>
                  <a:lnTo>
                    <a:pt x="818" y="452"/>
                  </a:lnTo>
                  <a:lnTo>
                    <a:pt x="820" y="410"/>
                  </a:lnTo>
                  <a:lnTo>
                    <a:pt x="820" y="410"/>
                  </a:lnTo>
                  <a:lnTo>
                    <a:pt x="818" y="368"/>
                  </a:lnTo>
                  <a:lnTo>
                    <a:pt x="810" y="328"/>
                  </a:lnTo>
                  <a:lnTo>
                    <a:pt x="800" y="288"/>
                  </a:lnTo>
                  <a:lnTo>
                    <a:pt x="788" y="250"/>
                  </a:lnTo>
                  <a:lnTo>
                    <a:pt x="770" y="216"/>
                  </a:lnTo>
                  <a:lnTo>
                    <a:pt x="750" y="182"/>
                  </a:lnTo>
                  <a:lnTo>
                    <a:pt x="726" y="150"/>
                  </a:lnTo>
                  <a:lnTo>
                    <a:pt x="700" y="120"/>
                  </a:lnTo>
                  <a:lnTo>
                    <a:pt x="670" y="94"/>
                  </a:lnTo>
                  <a:lnTo>
                    <a:pt x="638" y="70"/>
                  </a:lnTo>
                  <a:lnTo>
                    <a:pt x="604" y="50"/>
                  </a:lnTo>
                  <a:lnTo>
                    <a:pt x="570" y="32"/>
                  </a:lnTo>
                  <a:lnTo>
                    <a:pt x="532" y="18"/>
                  </a:lnTo>
                  <a:lnTo>
                    <a:pt x="492" y="8"/>
                  </a:lnTo>
                  <a:lnTo>
                    <a:pt x="452" y="2"/>
                  </a:lnTo>
                  <a:lnTo>
                    <a:pt x="410" y="0"/>
                  </a:lnTo>
                  <a:lnTo>
                    <a:pt x="410" y="0"/>
                  </a:lnTo>
                  <a:close/>
                  <a:moveTo>
                    <a:pt x="656" y="360"/>
                  </a:moveTo>
                  <a:lnTo>
                    <a:pt x="656" y="460"/>
                  </a:lnTo>
                  <a:lnTo>
                    <a:pt x="164" y="460"/>
                  </a:lnTo>
                  <a:lnTo>
                    <a:pt x="164" y="360"/>
                  </a:lnTo>
                  <a:lnTo>
                    <a:pt x="656" y="360"/>
                  </a:lnTo>
                  <a:close/>
                </a:path>
              </a:pathLst>
            </a:custGeom>
            <a:solidFill>
              <a:srgbClr val="00A1DE"/>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1"/>
            <p:cNvSpPr>
              <a:spLocks noEditPoints="1"/>
            </p:cNvSpPr>
            <p:nvPr/>
          </p:nvSpPr>
          <p:spPr bwMode="auto">
            <a:xfrm>
              <a:off x="4601243" y="4989070"/>
              <a:ext cx="918667" cy="849982"/>
            </a:xfrm>
            <a:custGeom>
              <a:avLst/>
              <a:gdLst>
                <a:gd name="T0" fmla="*/ 674 w 1284"/>
                <a:gd name="T1" fmla="*/ 290 h 1188"/>
                <a:gd name="T2" fmla="*/ 706 w 1284"/>
                <a:gd name="T3" fmla="*/ 266 h 1188"/>
                <a:gd name="T4" fmla="*/ 718 w 1284"/>
                <a:gd name="T5" fmla="*/ 272 h 1188"/>
                <a:gd name="T6" fmla="*/ 738 w 1284"/>
                <a:gd name="T7" fmla="*/ 274 h 1188"/>
                <a:gd name="T8" fmla="*/ 756 w 1284"/>
                <a:gd name="T9" fmla="*/ 264 h 1188"/>
                <a:gd name="T10" fmla="*/ 780 w 1284"/>
                <a:gd name="T11" fmla="*/ 238 h 1188"/>
                <a:gd name="T12" fmla="*/ 786 w 1284"/>
                <a:gd name="T13" fmla="*/ 218 h 1188"/>
                <a:gd name="T14" fmla="*/ 778 w 1284"/>
                <a:gd name="T15" fmla="*/ 198 h 1188"/>
                <a:gd name="T16" fmla="*/ 578 w 1284"/>
                <a:gd name="T17" fmla="*/ 10 h 1188"/>
                <a:gd name="T18" fmla="*/ 560 w 1284"/>
                <a:gd name="T19" fmla="*/ 0 h 1188"/>
                <a:gd name="T20" fmla="*/ 540 w 1284"/>
                <a:gd name="T21" fmla="*/ 2 h 1188"/>
                <a:gd name="T22" fmla="*/ 510 w 1284"/>
                <a:gd name="T23" fmla="*/ 32 h 1188"/>
                <a:gd name="T24" fmla="*/ 502 w 1284"/>
                <a:gd name="T25" fmla="*/ 44 h 1188"/>
                <a:gd name="T26" fmla="*/ 500 w 1284"/>
                <a:gd name="T27" fmla="*/ 64 h 1188"/>
                <a:gd name="T28" fmla="*/ 510 w 1284"/>
                <a:gd name="T29" fmla="*/ 82 h 1188"/>
                <a:gd name="T30" fmla="*/ 312 w 1284"/>
                <a:gd name="T31" fmla="*/ 684 h 1188"/>
                <a:gd name="T32" fmla="*/ 332 w 1284"/>
                <a:gd name="T33" fmla="*/ 692 h 1188"/>
                <a:gd name="T34" fmla="*/ 350 w 1284"/>
                <a:gd name="T35" fmla="*/ 690 h 1188"/>
                <a:gd name="T36" fmla="*/ 382 w 1284"/>
                <a:gd name="T37" fmla="*/ 660 h 1188"/>
                <a:gd name="T38" fmla="*/ 390 w 1284"/>
                <a:gd name="T39" fmla="*/ 648 h 1188"/>
                <a:gd name="T40" fmla="*/ 390 w 1284"/>
                <a:gd name="T41" fmla="*/ 628 h 1188"/>
                <a:gd name="T42" fmla="*/ 380 w 1284"/>
                <a:gd name="T43" fmla="*/ 612 h 1188"/>
                <a:gd name="T44" fmla="*/ 180 w 1284"/>
                <a:gd name="T45" fmla="*/ 424 h 1188"/>
                <a:gd name="T46" fmla="*/ 160 w 1284"/>
                <a:gd name="T47" fmla="*/ 418 h 1188"/>
                <a:gd name="T48" fmla="*/ 140 w 1284"/>
                <a:gd name="T49" fmla="*/ 424 h 1188"/>
                <a:gd name="T50" fmla="*/ 116 w 1284"/>
                <a:gd name="T51" fmla="*/ 450 h 1188"/>
                <a:gd name="T52" fmla="*/ 106 w 1284"/>
                <a:gd name="T53" fmla="*/ 468 h 1188"/>
                <a:gd name="T54" fmla="*/ 110 w 1284"/>
                <a:gd name="T55" fmla="*/ 488 h 1188"/>
                <a:gd name="T56" fmla="*/ 312 w 1284"/>
                <a:gd name="T57" fmla="*/ 684 h 1188"/>
                <a:gd name="T58" fmla="*/ 1174 w 1284"/>
                <a:gd name="T59" fmla="*/ 1110 h 1188"/>
                <a:gd name="T60" fmla="*/ 1204 w 1284"/>
                <a:gd name="T61" fmla="*/ 1130 h 1188"/>
                <a:gd name="T62" fmla="*/ 1234 w 1284"/>
                <a:gd name="T63" fmla="*/ 1134 h 1188"/>
                <a:gd name="T64" fmla="*/ 1276 w 1284"/>
                <a:gd name="T65" fmla="*/ 1098 h 1188"/>
                <a:gd name="T66" fmla="*/ 1284 w 1284"/>
                <a:gd name="T67" fmla="*/ 1082 h 1188"/>
                <a:gd name="T68" fmla="*/ 1278 w 1284"/>
                <a:gd name="T69" fmla="*/ 1054 h 1188"/>
                <a:gd name="T70" fmla="*/ 1256 w 1284"/>
                <a:gd name="T71" fmla="*/ 1024 h 1188"/>
                <a:gd name="T72" fmla="*/ 750 w 1284"/>
                <a:gd name="T73" fmla="*/ 1108 h 1188"/>
                <a:gd name="T74" fmla="*/ 744 w 1284"/>
                <a:gd name="T75" fmla="*/ 1096 h 1188"/>
                <a:gd name="T76" fmla="*/ 18 w 1284"/>
                <a:gd name="T77" fmla="*/ 1092 h 1188"/>
                <a:gd name="T78" fmla="*/ 6 w 1284"/>
                <a:gd name="T79" fmla="*/ 1096 h 1188"/>
                <a:gd name="T80" fmla="*/ 0 w 1284"/>
                <a:gd name="T81" fmla="*/ 1170 h 1188"/>
                <a:gd name="T82" fmla="*/ 6 w 1284"/>
                <a:gd name="T83" fmla="*/ 1182 h 1188"/>
                <a:gd name="T84" fmla="*/ 732 w 1284"/>
                <a:gd name="T85" fmla="*/ 1188 h 1188"/>
                <a:gd name="T86" fmla="*/ 744 w 1284"/>
                <a:gd name="T87" fmla="*/ 1182 h 1188"/>
                <a:gd name="T88" fmla="*/ 750 w 1284"/>
                <a:gd name="T89" fmla="*/ 1108 h 1188"/>
                <a:gd name="T90" fmla="*/ 588 w 1284"/>
                <a:gd name="T91" fmla="*/ 976 h 1188"/>
                <a:gd name="T92" fmla="*/ 612 w 1284"/>
                <a:gd name="T93" fmla="*/ 982 h 1188"/>
                <a:gd name="T94" fmla="*/ 630 w 1284"/>
                <a:gd name="T95" fmla="*/ 998 h 1188"/>
                <a:gd name="T96" fmla="*/ 638 w 1284"/>
                <a:gd name="T97" fmla="*/ 1052 h 1188"/>
                <a:gd name="T98" fmla="*/ 112 w 1284"/>
                <a:gd name="T99" fmla="*/ 1012 h 1188"/>
                <a:gd name="T100" fmla="*/ 126 w 1284"/>
                <a:gd name="T101" fmla="*/ 992 h 1188"/>
                <a:gd name="T102" fmla="*/ 146 w 1284"/>
                <a:gd name="T103" fmla="*/ 978 h 1188"/>
                <a:gd name="T104" fmla="*/ 164 w 1284"/>
                <a:gd name="T105" fmla="*/ 976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4" h="1188">
                  <a:moveTo>
                    <a:pt x="218" y="402"/>
                  </a:moveTo>
                  <a:lnTo>
                    <a:pt x="488" y="116"/>
                  </a:lnTo>
                  <a:lnTo>
                    <a:pt x="674" y="290"/>
                  </a:lnTo>
                  <a:lnTo>
                    <a:pt x="404" y="578"/>
                  </a:lnTo>
                  <a:lnTo>
                    <a:pt x="218" y="402"/>
                  </a:lnTo>
                  <a:close/>
                  <a:moveTo>
                    <a:pt x="706" y="266"/>
                  </a:moveTo>
                  <a:lnTo>
                    <a:pt x="706" y="266"/>
                  </a:lnTo>
                  <a:lnTo>
                    <a:pt x="712" y="270"/>
                  </a:lnTo>
                  <a:lnTo>
                    <a:pt x="718" y="272"/>
                  </a:lnTo>
                  <a:lnTo>
                    <a:pt x="724" y="274"/>
                  </a:lnTo>
                  <a:lnTo>
                    <a:pt x="732" y="274"/>
                  </a:lnTo>
                  <a:lnTo>
                    <a:pt x="738" y="274"/>
                  </a:lnTo>
                  <a:lnTo>
                    <a:pt x="744" y="272"/>
                  </a:lnTo>
                  <a:lnTo>
                    <a:pt x="750" y="268"/>
                  </a:lnTo>
                  <a:lnTo>
                    <a:pt x="756" y="264"/>
                  </a:lnTo>
                  <a:lnTo>
                    <a:pt x="776" y="242"/>
                  </a:lnTo>
                  <a:lnTo>
                    <a:pt x="776" y="242"/>
                  </a:lnTo>
                  <a:lnTo>
                    <a:pt x="780" y="238"/>
                  </a:lnTo>
                  <a:lnTo>
                    <a:pt x="782" y="230"/>
                  </a:lnTo>
                  <a:lnTo>
                    <a:pt x="784" y="224"/>
                  </a:lnTo>
                  <a:lnTo>
                    <a:pt x="786" y="218"/>
                  </a:lnTo>
                  <a:lnTo>
                    <a:pt x="784" y="210"/>
                  </a:lnTo>
                  <a:lnTo>
                    <a:pt x="782" y="204"/>
                  </a:lnTo>
                  <a:lnTo>
                    <a:pt x="778" y="198"/>
                  </a:lnTo>
                  <a:lnTo>
                    <a:pt x="774" y="194"/>
                  </a:lnTo>
                  <a:lnTo>
                    <a:pt x="578" y="10"/>
                  </a:lnTo>
                  <a:lnTo>
                    <a:pt x="578" y="10"/>
                  </a:lnTo>
                  <a:lnTo>
                    <a:pt x="572" y="6"/>
                  </a:lnTo>
                  <a:lnTo>
                    <a:pt x="566" y="2"/>
                  </a:lnTo>
                  <a:lnTo>
                    <a:pt x="560" y="0"/>
                  </a:lnTo>
                  <a:lnTo>
                    <a:pt x="554" y="0"/>
                  </a:lnTo>
                  <a:lnTo>
                    <a:pt x="546" y="0"/>
                  </a:lnTo>
                  <a:lnTo>
                    <a:pt x="540" y="2"/>
                  </a:lnTo>
                  <a:lnTo>
                    <a:pt x="534" y="6"/>
                  </a:lnTo>
                  <a:lnTo>
                    <a:pt x="528" y="12"/>
                  </a:lnTo>
                  <a:lnTo>
                    <a:pt x="510" y="32"/>
                  </a:lnTo>
                  <a:lnTo>
                    <a:pt x="510" y="32"/>
                  </a:lnTo>
                  <a:lnTo>
                    <a:pt x="504" y="38"/>
                  </a:lnTo>
                  <a:lnTo>
                    <a:pt x="502" y="44"/>
                  </a:lnTo>
                  <a:lnTo>
                    <a:pt x="500" y="50"/>
                  </a:lnTo>
                  <a:lnTo>
                    <a:pt x="500" y="58"/>
                  </a:lnTo>
                  <a:lnTo>
                    <a:pt x="500" y="64"/>
                  </a:lnTo>
                  <a:lnTo>
                    <a:pt x="502" y="70"/>
                  </a:lnTo>
                  <a:lnTo>
                    <a:pt x="506" y="76"/>
                  </a:lnTo>
                  <a:lnTo>
                    <a:pt x="510" y="82"/>
                  </a:lnTo>
                  <a:lnTo>
                    <a:pt x="706" y="266"/>
                  </a:lnTo>
                  <a:close/>
                  <a:moveTo>
                    <a:pt x="312" y="684"/>
                  </a:moveTo>
                  <a:lnTo>
                    <a:pt x="312" y="684"/>
                  </a:lnTo>
                  <a:lnTo>
                    <a:pt x="318" y="688"/>
                  </a:lnTo>
                  <a:lnTo>
                    <a:pt x="324" y="690"/>
                  </a:lnTo>
                  <a:lnTo>
                    <a:pt x="332" y="692"/>
                  </a:lnTo>
                  <a:lnTo>
                    <a:pt x="338" y="692"/>
                  </a:lnTo>
                  <a:lnTo>
                    <a:pt x="344" y="692"/>
                  </a:lnTo>
                  <a:lnTo>
                    <a:pt x="350" y="690"/>
                  </a:lnTo>
                  <a:lnTo>
                    <a:pt x="356" y="686"/>
                  </a:lnTo>
                  <a:lnTo>
                    <a:pt x="362" y="682"/>
                  </a:lnTo>
                  <a:lnTo>
                    <a:pt x="382" y="660"/>
                  </a:lnTo>
                  <a:lnTo>
                    <a:pt x="382" y="660"/>
                  </a:lnTo>
                  <a:lnTo>
                    <a:pt x="386" y="656"/>
                  </a:lnTo>
                  <a:lnTo>
                    <a:pt x="390" y="648"/>
                  </a:lnTo>
                  <a:lnTo>
                    <a:pt x="392" y="642"/>
                  </a:lnTo>
                  <a:lnTo>
                    <a:pt x="392" y="636"/>
                  </a:lnTo>
                  <a:lnTo>
                    <a:pt x="390" y="628"/>
                  </a:lnTo>
                  <a:lnTo>
                    <a:pt x="388" y="622"/>
                  </a:lnTo>
                  <a:lnTo>
                    <a:pt x="386" y="616"/>
                  </a:lnTo>
                  <a:lnTo>
                    <a:pt x="380" y="612"/>
                  </a:lnTo>
                  <a:lnTo>
                    <a:pt x="184" y="428"/>
                  </a:lnTo>
                  <a:lnTo>
                    <a:pt x="184" y="428"/>
                  </a:lnTo>
                  <a:lnTo>
                    <a:pt x="180" y="424"/>
                  </a:lnTo>
                  <a:lnTo>
                    <a:pt x="174" y="420"/>
                  </a:lnTo>
                  <a:lnTo>
                    <a:pt x="166" y="418"/>
                  </a:lnTo>
                  <a:lnTo>
                    <a:pt x="160" y="418"/>
                  </a:lnTo>
                  <a:lnTo>
                    <a:pt x="154" y="418"/>
                  </a:lnTo>
                  <a:lnTo>
                    <a:pt x="146" y="420"/>
                  </a:lnTo>
                  <a:lnTo>
                    <a:pt x="140" y="424"/>
                  </a:lnTo>
                  <a:lnTo>
                    <a:pt x="136" y="428"/>
                  </a:lnTo>
                  <a:lnTo>
                    <a:pt x="116" y="450"/>
                  </a:lnTo>
                  <a:lnTo>
                    <a:pt x="116" y="450"/>
                  </a:lnTo>
                  <a:lnTo>
                    <a:pt x="112" y="456"/>
                  </a:lnTo>
                  <a:lnTo>
                    <a:pt x="108" y="462"/>
                  </a:lnTo>
                  <a:lnTo>
                    <a:pt x="106" y="468"/>
                  </a:lnTo>
                  <a:lnTo>
                    <a:pt x="106" y="476"/>
                  </a:lnTo>
                  <a:lnTo>
                    <a:pt x="106" y="482"/>
                  </a:lnTo>
                  <a:lnTo>
                    <a:pt x="110" y="488"/>
                  </a:lnTo>
                  <a:lnTo>
                    <a:pt x="112" y="494"/>
                  </a:lnTo>
                  <a:lnTo>
                    <a:pt x="118" y="500"/>
                  </a:lnTo>
                  <a:lnTo>
                    <a:pt x="312" y="684"/>
                  </a:lnTo>
                  <a:close/>
                  <a:moveTo>
                    <a:pt x="528" y="504"/>
                  </a:moveTo>
                  <a:lnTo>
                    <a:pt x="1174" y="1110"/>
                  </a:lnTo>
                  <a:lnTo>
                    <a:pt x="1174" y="1110"/>
                  </a:lnTo>
                  <a:lnTo>
                    <a:pt x="1184" y="1120"/>
                  </a:lnTo>
                  <a:lnTo>
                    <a:pt x="1194" y="1126"/>
                  </a:lnTo>
                  <a:lnTo>
                    <a:pt x="1204" y="1130"/>
                  </a:lnTo>
                  <a:lnTo>
                    <a:pt x="1216" y="1134"/>
                  </a:lnTo>
                  <a:lnTo>
                    <a:pt x="1226" y="1136"/>
                  </a:lnTo>
                  <a:lnTo>
                    <a:pt x="1234" y="1134"/>
                  </a:lnTo>
                  <a:lnTo>
                    <a:pt x="1242" y="1132"/>
                  </a:lnTo>
                  <a:lnTo>
                    <a:pt x="1248" y="1126"/>
                  </a:lnTo>
                  <a:lnTo>
                    <a:pt x="1276" y="1098"/>
                  </a:lnTo>
                  <a:lnTo>
                    <a:pt x="1276" y="1098"/>
                  </a:lnTo>
                  <a:lnTo>
                    <a:pt x="1280" y="1090"/>
                  </a:lnTo>
                  <a:lnTo>
                    <a:pt x="1284" y="1082"/>
                  </a:lnTo>
                  <a:lnTo>
                    <a:pt x="1284" y="1074"/>
                  </a:lnTo>
                  <a:lnTo>
                    <a:pt x="1282" y="1064"/>
                  </a:lnTo>
                  <a:lnTo>
                    <a:pt x="1278" y="1054"/>
                  </a:lnTo>
                  <a:lnTo>
                    <a:pt x="1272" y="1044"/>
                  </a:lnTo>
                  <a:lnTo>
                    <a:pt x="1264" y="1032"/>
                  </a:lnTo>
                  <a:lnTo>
                    <a:pt x="1256" y="1024"/>
                  </a:lnTo>
                  <a:lnTo>
                    <a:pt x="610" y="416"/>
                  </a:lnTo>
                  <a:lnTo>
                    <a:pt x="528" y="504"/>
                  </a:lnTo>
                  <a:close/>
                  <a:moveTo>
                    <a:pt x="750" y="1108"/>
                  </a:moveTo>
                  <a:lnTo>
                    <a:pt x="750" y="1108"/>
                  </a:lnTo>
                  <a:lnTo>
                    <a:pt x="748" y="1102"/>
                  </a:lnTo>
                  <a:lnTo>
                    <a:pt x="744" y="1096"/>
                  </a:lnTo>
                  <a:lnTo>
                    <a:pt x="738" y="1094"/>
                  </a:lnTo>
                  <a:lnTo>
                    <a:pt x="732" y="1092"/>
                  </a:lnTo>
                  <a:lnTo>
                    <a:pt x="18" y="1092"/>
                  </a:lnTo>
                  <a:lnTo>
                    <a:pt x="18" y="1092"/>
                  </a:lnTo>
                  <a:lnTo>
                    <a:pt x="12" y="1094"/>
                  </a:lnTo>
                  <a:lnTo>
                    <a:pt x="6" y="1096"/>
                  </a:lnTo>
                  <a:lnTo>
                    <a:pt x="2" y="1102"/>
                  </a:lnTo>
                  <a:lnTo>
                    <a:pt x="0" y="1108"/>
                  </a:lnTo>
                  <a:lnTo>
                    <a:pt x="0" y="1170"/>
                  </a:lnTo>
                  <a:lnTo>
                    <a:pt x="0" y="1170"/>
                  </a:lnTo>
                  <a:lnTo>
                    <a:pt x="2" y="1176"/>
                  </a:lnTo>
                  <a:lnTo>
                    <a:pt x="6" y="1182"/>
                  </a:lnTo>
                  <a:lnTo>
                    <a:pt x="12" y="1186"/>
                  </a:lnTo>
                  <a:lnTo>
                    <a:pt x="18" y="1188"/>
                  </a:lnTo>
                  <a:lnTo>
                    <a:pt x="732" y="1188"/>
                  </a:lnTo>
                  <a:lnTo>
                    <a:pt x="732" y="1188"/>
                  </a:lnTo>
                  <a:lnTo>
                    <a:pt x="738" y="1186"/>
                  </a:lnTo>
                  <a:lnTo>
                    <a:pt x="744" y="1182"/>
                  </a:lnTo>
                  <a:lnTo>
                    <a:pt x="748" y="1176"/>
                  </a:lnTo>
                  <a:lnTo>
                    <a:pt x="750" y="1170"/>
                  </a:lnTo>
                  <a:lnTo>
                    <a:pt x="750" y="1108"/>
                  </a:lnTo>
                  <a:close/>
                  <a:moveTo>
                    <a:pt x="164" y="976"/>
                  </a:moveTo>
                  <a:lnTo>
                    <a:pt x="588" y="976"/>
                  </a:lnTo>
                  <a:lnTo>
                    <a:pt x="588" y="976"/>
                  </a:lnTo>
                  <a:lnTo>
                    <a:pt x="596" y="976"/>
                  </a:lnTo>
                  <a:lnTo>
                    <a:pt x="604" y="978"/>
                  </a:lnTo>
                  <a:lnTo>
                    <a:pt x="612" y="982"/>
                  </a:lnTo>
                  <a:lnTo>
                    <a:pt x="620" y="986"/>
                  </a:lnTo>
                  <a:lnTo>
                    <a:pt x="626" y="992"/>
                  </a:lnTo>
                  <a:lnTo>
                    <a:pt x="630" y="998"/>
                  </a:lnTo>
                  <a:lnTo>
                    <a:pt x="636" y="1004"/>
                  </a:lnTo>
                  <a:lnTo>
                    <a:pt x="638" y="1012"/>
                  </a:lnTo>
                  <a:lnTo>
                    <a:pt x="638" y="1052"/>
                  </a:lnTo>
                  <a:lnTo>
                    <a:pt x="112" y="1052"/>
                  </a:lnTo>
                  <a:lnTo>
                    <a:pt x="112" y="1012"/>
                  </a:lnTo>
                  <a:lnTo>
                    <a:pt x="112" y="1012"/>
                  </a:lnTo>
                  <a:lnTo>
                    <a:pt x="116" y="1004"/>
                  </a:lnTo>
                  <a:lnTo>
                    <a:pt x="120" y="998"/>
                  </a:lnTo>
                  <a:lnTo>
                    <a:pt x="126" y="992"/>
                  </a:lnTo>
                  <a:lnTo>
                    <a:pt x="132" y="986"/>
                  </a:lnTo>
                  <a:lnTo>
                    <a:pt x="138" y="982"/>
                  </a:lnTo>
                  <a:lnTo>
                    <a:pt x="146" y="978"/>
                  </a:lnTo>
                  <a:lnTo>
                    <a:pt x="154" y="976"/>
                  </a:lnTo>
                  <a:lnTo>
                    <a:pt x="164" y="976"/>
                  </a:lnTo>
                  <a:lnTo>
                    <a:pt x="164" y="97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377806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361" y="374586"/>
            <a:ext cx="9226800" cy="975952"/>
          </a:xfrm>
        </p:spPr>
        <p:txBody>
          <a:bodyPr anchor="ctr">
            <a:normAutofit fontScale="90000"/>
          </a:bodyPr>
          <a:lstStyle/>
          <a:p>
            <a:r>
              <a:rPr lang="pl-PL" sz="2700" b="0" dirty="0" smtClean="0">
                <a:solidFill>
                  <a:schemeClr val="accent2"/>
                </a:solidFill>
              </a:rPr>
              <a:t>Wykładnia gospodarcza art. 22 i 23 ust. 1 pkt 38 ustawy o PDOF</a:t>
            </a:r>
            <a:r>
              <a:rPr lang="pl-PL" sz="3200" dirty="0" smtClean="0"/>
              <a:t/>
            </a:r>
            <a:br>
              <a:rPr lang="pl-PL" sz="3200" dirty="0" smtClean="0"/>
            </a:br>
            <a:r>
              <a:rPr lang="pl-PL" sz="2200" b="0" dirty="0">
                <a:solidFill>
                  <a:srgbClr val="002776"/>
                </a:solidFill>
              </a:rPr>
              <a:t>Prz</a:t>
            </a:r>
            <a:r>
              <a:rPr lang="pl-PL" sz="2200" b="0" dirty="0" smtClean="0">
                <a:solidFill>
                  <a:srgbClr val="002776"/>
                </a:solidFill>
              </a:rPr>
              <a:t>ykłady praktyczne z perspektywy adekwatności obciążenia podatkowego </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9</a:t>
            </a:fld>
            <a:endParaRPr lang="en-GB" dirty="0">
              <a:solidFill>
                <a:srgbClr val="FFFFFF">
                  <a:lumMod val="65000"/>
                </a:srgbClr>
              </a:solidFill>
            </a:endParaRPr>
          </a:p>
        </p:txBody>
      </p:sp>
      <p:grpSp>
        <p:nvGrpSpPr>
          <p:cNvPr id="4" name="Group 3"/>
          <p:cNvGrpSpPr/>
          <p:nvPr/>
        </p:nvGrpSpPr>
        <p:grpSpPr>
          <a:xfrm>
            <a:off x="420689" y="1350538"/>
            <a:ext cx="4421072" cy="5487990"/>
            <a:chOff x="611184" y="4915047"/>
            <a:chExt cx="2645982" cy="395092"/>
          </a:xfrm>
        </p:grpSpPr>
        <p:sp>
          <p:nvSpPr>
            <p:cNvPr id="8" name="Rectangle 7"/>
            <p:cNvSpPr/>
            <p:nvPr/>
          </p:nvSpPr>
          <p:spPr>
            <a:xfrm>
              <a:off x="1068760" y="4915047"/>
              <a:ext cx="1956441" cy="38313"/>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smtClean="0">
                  <a:solidFill>
                    <a:srgbClr val="FFFFFF"/>
                  </a:solidFill>
                  <a:cs typeface="Arial" panose="020B0604020202020204" pitchFamily="34" charset="0"/>
                </a:rPr>
                <a:t>Niepodzielone zyski spółki osobowej</a:t>
              </a:r>
              <a:endParaRPr lang="pl-PL" sz="1400" b="1" dirty="0">
                <a:solidFill>
                  <a:srgbClr val="FFFFFF"/>
                </a:solidFill>
                <a:cs typeface="Arial" panose="020B0604020202020204" pitchFamily="34" charset="0"/>
              </a:endParaRPr>
            </a:p>
          </p:txBody>
        </p:sp>
        <p:sp>
          <p:nvSpPr>
            <p:cNvPr id="9" name="Rectangle 8"/>
            <p:cNvSpPr/>
            <p:nvPr/>
          </p:nvSpPr>
          <p:spPr>
            <a:xfrm>
              <a:off x="611184" y="4953360"/>
              <a:ext cx="2645982"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smtClean="0">
                  <a:solidFill>
                    <a:srgbClr val="000000"/>
                  </a:solidFill>
                </a:rPr>
                <a:t>Dane finansowe:</a:t>
              </a:r>
            </a:p>
            <a:p>
              <a:pPr marL="285750" indent="-285750" algn="just">
                <a:buFont typeface="Wingdings" panose="05000000000000000000" pitchFamily="2" charset="2"/>
                <a:buChar char="Ø"/>
              </a:pPr>
              <a:r>
                <a:rPr lang="pl-PL" sz="1800" dirty="0" smtClean="0">
                  <a:solidFill>
                    <a:srgbClr val="000000"/>
                  </a:solidFill>
                </a:rPr>
                <a:t>Wkład do spółki jawnej: 100</a:t>
              </a:r>
            </a:p>
            <a:p>
              <a:pPr marL="285750" indent="-285750" algn="just">
                <a:buFont typeface="Wingdings" panose="05000000000000000000" pitchFamily="2" charset="2"/>
                <a:buChar char="Ø"/>
              </a:pPr>
              <a:r>
                <a:rPr lang="pl-PL" sz="1800" dirty="0" smtClean="0">
                  <a:solidFill>
                    <a:srgbClr val="000000"/>
                  </a:solidFill>
                </a:rPr>
                <a:t>Zyski niewypłacone ze spółki jawnej na moment przekształcenia: 1.000</a:t>
              </a:r>
            </a:p>
            <a:p>
              <a:pPr marL="285750" indent="-285750" algn="just">
                <a:buFont typeface="Wingdings" panose="05000000000000000000" pitchFamily="2" charset="2"/>
                <a:buChar char="Ø"/>
              </a:pPr>
              <a:r>
                <a:rPr lang="pl-PL" sz="1800" dirty="0" smtClean="0">
                  <a:solidFill>
                    <a:srgbClr val="000000"/>
                  </a:solidFill>
                </a:rPr>
                <a:t>Wartość bilansowa: 1.100</a:t>
              </a:r>
            </a:p>
            <a:p>
              <a:pPr marL="285750" indent="-285750" algn="just">
                <a:buFont typeface="Wingdings" panose="05000000000000000000" pitchFamily="2" charset="2"/>
                <a:buChar char="Ø"/>
              </a:pPr>
              <a:r>
                <a:rPr lang="pl-PL" sz="1800" dirty="0" smtClean="0">
                  <a:solidFill>
                    <a:srgbClr val="000000"/>
                  </a:solidFill>
                </a:rPr>
                <a:t>Cena na moment sprzedaży sp. z o.o.: 1.200</a:t>
              </a:r>
            </a:p>
            <a:p>
              <a:pPr algn="just"/>
              <a:endParaRPr lang="pl-PL" sz="1800" dirty="0" smtClean="0">
                <a:solidFill>
                  <a:srgbClr val="000000"/>
                </a:solidFill>
              </a:endParaRPr>
            </a:p>
            <a:p>
              <a:pPr algn="just"/>
              <a:r>
                <a:rPr lang="pl-PL" sz="1800" dirty="0" smtClean="0">
                  <a:solidFill>
                    <a:srgbClr val="000000"/>
                  </a:solidFill>
                </a:rPr>
                <a:t>Podatek na moment </a:t>
              </a:r>
              <a:r>
                <a:rPr lang="pl-PL" sz="1800" dirty="0">
                  <a:solidFill>
                    <a:srgbClr val="000000"/>
                  </a:solidFill>
                </a:rPr>
                <a:t>sprzedaży (wersja </a:t>
              </a:r>
              <a:r>
                <a:rPr lang="pl-PL" sz="1800" dirty="0" smtClean="0">
                  <a:solidFill>
                    <a:srgbClr val="000000"/>
                  </a:solidFill>
                </a:rPr>
                <a:t>I</a:t>
              </a:r>
              <a:r>
                <a:rPr lang="pl-PL" sz="1800" dirty="0">
                  <a:solidFill>
                    <a:srgbClr val="000000"/>
                  </a:solidFill>
                </a:rPr>
                <a:t>): 19% x (1200-1100) </a:t>
              </a:r>
              <a:r>
                <a:rPr lang="pl-PL" sz="1800" b="1" dirty="0">
                  <a:solidFill>
                    <a:srgbClr val="000000"/>
                  </a:solidFill>
                </a:rPr>
                <a:t>= 19 </a:t>
              </a:r>
              <a:endParaRPr lang="pl-PL" sz="1800" b="1" dirty="0" smtClean="0">
                <a:solidFill>
                  <a:srgbClr val="000000"/>
                </a:solidFill>
              </a:endParaRPr>
            </a:p>
            <a:p>
              <a:pPr algn="just"/>
              <a:r>
                <a:rPr lang="pl-PL" sz="1800" dirty="0" smtClean="0">
                  <a:solidFill>
                    <a:srgbClr val="000000"/>
                  </a:solidFill>
                </a:rPr>
                <a:t>Podatek (wersja II): 19% x (1200-100) </a:t>
              </a:r>
              <a:r>
                <a:rPr lang="pl-PL" sz="1800" b="1" dirty="0" smtClean="0">
                  <a:solidFill>
                    <a:srgbClr val="000000"/>
                  </a:solidFill>
                </a:rPr>
                <a:t>=</a:t>
              </a:r>
              <a:r>
                <a:rPr lang="pl-PL" sz="1800" dirty="0" smtClean="0">
                  <a:solidFill>
                    <a:srgbClr val="000000"/>
                  </a:solidFill>
                </a:rPr>
                <a:t> </a:t>
              </a:r>
              <a:r>
                <a:rPr lang="pl-PL" sz="1800" b="1" dirty="0" smtClean="0">
                  <a:solidFill>
                    <a:srgbClr val="000000"/>
                  </a:solidFill>
                </a:rPr>
                <a:t>209</a:t>
              </a:r>
              <a:endParaRPr lang="pl-PL" sz="1800" b="1" dirty="0">
                <a:solidFill>
                  <a:srgbClr val="000000"/>
                </a:solidFill>
              </a:endParaRPr>
            </a:p>
            <a:p>
              <a:pPr algn="just"/>
              <a:endParaRPr lang="pl-PL" sz="1800" b="1" dirty="0">
                <a:solidFill>
                  <a:srgbClr val="000000"/>
                </a:solidFill>
              </a:endParaRPr>
            </a:p>
            <a:p>
              <a:pPr algn="just"/>
              <a:r>
                <a:rPr lang="pl-PL" sz="1800" b="1" dirty="0" smtClean="0">
                  <a:solidFill>
                    <a:srgbClr val="000000"/>
                  </a:solidFill>
                </a:rPr>
                <a:t>Na dzień przekształcenia wypłata zysku ze spółki jawnej potrącona z pożyczką udzieloną przez Wspólników? </a:t>
              </a:r>
            </a:p>
            <a:p>
              <a:pPr algn="just"/>
              <a:endParaRPr lang="pl-PL" sz="1800" b="1" dirty="0">
                <a:solidFill>
                  <a:srgbClr val="000000"/>
                </a:solidFill>
              </a:endParaRPr>
            </a:p>
          </p:txBody>
        </p:sp>
      </p:grpSp>
      <p:graphicFrame>
        <p:nvGraphicFramePr>
          <p:cNvPr id="12" name="Table 11"/>
          <p:cNvGraphicFramePr>
            <a:graphicFrameLocks noGrp="1"/>
          </p:cNvGraphicFramePr>
          <p:nvPr>
            <p:extLst>
              <p:ext uri="{D42A27DB-BD31-4B8C-83A1-F6EECF244321}">
                <p14:modId xmlns:p14="http://schemas.microsoft.com/office/powerpoint/2010/main" val="3701360030"/>
              </p:ext>
            </p:extLst>
          </p:nvPr>
        </p:nvGraphicFramePr>
        <p:xfrm>
          <a:off x="5969725" y="1365920"/>
          <a:ext cx="2875899" cy="4176465"/>
        </p:xfrm>
        <a:graphic>
          <a:graphicData uri="http://schemas.openxmlformats.org/drawingml/2006/table">
            <a:tbl>
              <a:tblPr/>
              <a:tblGrid>
                <a:gridCol w="958633"/>
                <a:gridCol w="958633"/>
                <a:gridCol w="958633"/>
              </a:tblGrid>
              <a:tr h="293330">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a:solidFill>
                            <a:srgbClr val="000000"/>
                          </a:solidFill>
                          <a:effectLst/>
                          <a:latin typeface="Calibri" panose="020F0502020204030204" pitchFamily="34" charset="0"/>
                        </a:rPr>
                        <a:t>wyników</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1 2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1 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0" i="0" u="none" strike="noStrike">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307299">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1" i="0" u="none" strike="noStrike" dirty="0">
                          <a:solidFill>
                            <a:srgbClr val="000000"/>
                          </a:solidFill>
                          <a:effectLst/>
                          <a:latin typeface="Calibri" panose="020F0502020204030204" pitchFamily="34" charset="0"/>
                        </a:rPr>
                        <a:t>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r>
              <a:tr h="293330">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307299">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93330">
                <a:tc gridSpan="3">
                  <a:txBody>
                    <a:bodyPr/>
                    <a:lstStyle/>
                    <a:p>
                      <a:pPr algn="ctr" fontAlgn="b"/>
                      <a:r>
                        <a:rPr lang="en-AU" sz="1600" b="1" i="0" u="none" strike="noStrike">
                          <a:solidFill>
                            <a:srgbClr val="000000"/>
                          </a:solidFill>
                          <a:effectLst/>
                          <a:latin typeface="Calibri" panose="020F0502020204030204" pitchFamily="34" charset="0"/>
                        </a:rPr>
                        <a:t>Rachunek wynikó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 2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293330">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a:solidFill>
                            <a:srgbClr val="000000"/>
                          </a:solidFill>
                          <a:effectLst/>
                          <a:latin typeface="Calibri" panose="020F0502020204030204" pitchFamily="34" charset="0"/>
                        </a:rPr>
                        <a:t>1 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r>
              <a:tr h="307299">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2">
                  <a:txBody>
                    <a:bodyPr/>
                    <a:lstStyle/>
                    <a:p>
                      <a:pPr algn="ctr" fontAlgn="b"/>
                      <a:r>
                        <a:rPr lang="en-AU" sz="1600" b="1" i="0" u="none" strike="noStrike" dirty="0">
                          <a:solidFill>
                            <a:srgbClr val="000000"/>
                          </a:solidFill>
                          <a:effectLst/>
                          <a:latin typeface="Calibri" panose="020F0502020204030204" pitchFamily="34" charset="0"/>
                        </a:rPr>
                        <a:t>20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pl-PL"/>
                    </a:p>
                  </a:txBody>
                  <a:tcPr/>
                </a:tc>
              </a:tr>
              <a:tr h="307299">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307299">
                <a:tc>
                  <a:txBody>
                    <a:bodyPr/>
                    <a:lstStyle/>
                    <a:p>
                      <a:pPr algn="l" fontAlgn="b"/>
                      <a:r>
                        <a:rPr lang="en-AU" sz="1600" b="1" i="0" u="none" strike="noStrike">
                          <a:solidFill>
                            <a:srgbClr val="000000"/>
                          </a:solidFill>
                          <a:effectLst/>
                          <a:latin typeface="Calibri" panose="020F0502020204030204" pitchFamily="34" charset="0"/>
                        </a:rPr>
                        <a:t>Różnica</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AU" sz="1600" b="1" i="0" u="none" strike="noStrike">
                          <a:solidFill>
                            <a:srgbClr val="000000"/>
                          </a:solidFill>
                          <a:effectLst/>
                          <a:latin typeface="Calibri" panose="020F0502020204030204" pitchFamily="34" charset="0"/>
                        </a:rPr>
                        <a:t>190</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954110171"/>
              </p:ext>
            </p:extLst>
          </p:nvPr>
        </p:nvGraphicFramePr>
        <p:xfrm>
          <a:off x="5389240" y="5815491"/>
          <a:ext cx="3672409" cy="1397717"/>
        </p:xfrm>
        <a:graphic>
          <a:graphicData uri="http://schemas.openxmlformats.org/drawingml/2006/table">
            <a:tbl>
              <a:tblPr/>
              <a:tblGrid>
                <a:gridCol w="734482"/>
                <a:gridCol w="1468963"/>
                <a:gridCol w="734482"/>
                <a:gridCol w="734482"/>
              </a:tblGrid>
              <a:tr h="245474">
                <a:tc gridSpan="2">
                  <a:txBody>
                    <a:bodyPr/>
                    <a:lstStyle/>
                    <a:p>
                      <a:pPr algn="ctr" fontAlgn="b"/>
                      <a:r>
                        <a:rPr lang="en-AU" sz="1400" b="1" i="0" u="none" strike="noStrike" dirty="0" err="1">
                          <a:solidFill>
                            <a:srgbClr val="000000"/>
                          </a:solidFill>
                          <a:effectLst/>
                          <a:latin typeface="Calibri" panose="020F0502020204030204" pitchFamily="34" charset="0"/>
                        </a:rPr>
                        <a:t>Rachunek</a:t>
                      </a:r>
                      <a:r>
                        <a:rPr lang="en-AU" sz="1400" b="1" i="0" u="none" strike="noStrike" dirty="0">
                          <a:solidFill>
                            <a:srgbClr val="000000"/>
                          </a:solidFill>
                          <a:effectLst/>
                          <a:latin typeface="Calibri" panose="020F0502020204030204" pitchFamily="34" charset="0"/>
                        </a:rPr>
                        <a:t> </a:t>
                      </a:r>
                      <a:r>
                        <a:rPr lang="en-AU" sz="1400" b="1" i="0" u="none" strike="noStrike" dirty="0" err="1">
                          <a:solidFill>
                            <a:srgbClr val="000000"/>
                          </a:solidFill>
                          <a:effectLst/>
                          <a:latin typeface="Calibri" panose="020F0502020204030204" pitchFamily="34" charset="0"/>
                        </a:rPr>
                        <a:t>wyników</a:t>
                      </a:r>
                      <a:endParaRPr lang="en-AU"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rowSpan="2" gridSpan="2">
                  <a:txBody>
                    <a:bodyPr/>
                    <a:lstStyle/>
                    <a:p>
                      <a:pPr algn="ctr" fontAlgn="b"/>
                      <a:r>
                        <a:rPr lang="pl-PL" sz="1400" b="0" i="0" u="none" strike="noStrike" dirty="0">
                          <a:solidFill>
                            <a:srgbClr val="FF0000"/>
                          </a:solidFill>
                          <a:effectLst/>
                          <a:latin typeface="Calibri" panose="020F0502020204030204" pitchFamily="34" charset="0"/>
                        </a:rPr>
                        <a:t>dodatkowo pożyczka do zwrotu 1000</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rowSpan="2" hMerge="1">
                  <a:txBody>
                    <a:bodyPr/>
                    <a:lstStyle/>
                    <a:p>
                      <a:endParaRPr lang="pl-PL"/>
                    </a:p>
                  </a:txBody>
                  <a:tcPr/>
                </a:tc>
              </a:tr>
              <a:tr h="245474">
                <a:tc>
                  <a:txBody>
                    <a:bodyPr/>
                    <a:lstStyle/>
                    <a:p>
                      <a:pPr algn="l" fontAlgn="b"/>
                      <a:r>
                        <a:rPr lang="en-AU" sz="14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AU" sz="1400" b="0" i="0" u="none" strike="noStrike" dirty="0">
                          <a:solidFill>
                            <a:srgbClr val="000000"/>
                          </a:solidFill>
                          <a:effectLst/>
                          <a:latin typeface="Calibri" panose="020F0502020204030204" pitchFamily="34" charset="0"/>
                        </a:rPr>
                        <a:t>2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vMerge="1">
                  <a:txBody>
                    <a:bodyPr/>
                    <a:lstStyle/>
                    <a:p>
                      <a:endParaRPr lang="pl-PL"/>
                    </a:p>
                  </a:txBody>
                  <a:tcPr/>
                </a:tc>
                <a:tc hMerge="1" vMerge="1">
                  <a:txBody>
                    <a:bodyPr/>
                    <a:lstStyle/>
                    <a:p>
                      <a:endParaRPr lang="pl-PL"/>
                    </a:p>
                  </a:txBody>
                  <a:tcPr/>
                </a:tc>
              </a:tr>
              <a:tr h="245474">
                <a:tc>
                  <a:txBody>
                    <a:bodyPr/>
                    <a:lstStyle/>
                    <a:p>
                      <a:pPr algn="l" fontAlgn="b"/>
                      <a:r>
                        <a:rPr lang="en-AU" sz="14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AU" sz="1400" b="0" i="0" u="none" strike="noStrike">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gridSpan="2">
                  <a:txBody>
                    <a:bodyPr/>
                    <a:lstStyle/>
                    <a:p>
                      <a:pPr algn="ctr" fontAlgn="b"/>
                      <a:r>
                        <a:rPr lang="en-AU" sz="14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rowSpan="2" hMerge="1">
                  <a:txBody>
                    <a:bodyPr/>
                    <a:lstStyle/>
                    <a:p>
                      <a:endParaRPr lang="pl-PL"/>
                    </a:p>
                  </a:txBody>
                  <a:tcPr/>
                </a:tc>
              </a:tr>
              <a:tr h="245474">
                <a:tc>
                  <a:txBody>
                    <a:bodyPr/>
                    <a:lstStyle/>
                    <a:p>
                      <a:pPr algn="l" fontAlgn="b"/>
                      <a:r>
                        <a:rPr lang="en-AU" sz="14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AU" sz="1400" b="0" i="0" u="none" strike="noStrike">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vMerge="1">
                  <a:txBody>
                    <a:bodyPr/>
                    <a:lstStyle/>
                    <a:p>
                      <a:endParaRPr lang="pl-PL"/>
                    </a:p>
                  </a:txBody>
                  <a:tcPr/>
                </a:tc>
                <a:tc hMerge="1" vMerge="1">
                  <a:txBody>
                    <a:bodyPr/>
                    <a:lstStyle/>
                    <a:p>
                      <a:endParaRPr lang="pl-PL"/>
                    </a:p>
                  </a:txBody>
                  <a:tcPr/>
                </a:tc>
              </a:tr>
              <a:tr h="257164">
                <a:tc>
                  <a:txBody>
                    <a:bodyPr/>
                    <a:lstStyle/>
                    <a:p>
                      <a:pPr algn="l" fontAlgn="b"/>
                      <a:r>
                        <a:rPr lang="en-AU" sz="14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b"/>
                      <a:r>
                        <a:rPr lang="en-AU" sz="1400" b="1" i="0" u="none" strike="noStrike">
                          <a:solidFill>
                            <a:srgbClr val="000000"/>
                          </a:solidFill>
                          <a:effectLst/>
                          <a:latin typeface="Calibri" panose="020F0502020204030204" pitchFamily="34" charset="0"/>
                        </a:rPr>
                        <a:t>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AU" sz="1400" b="0" i="0" u="none" strike="noStrike">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AU"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r>
            </a:tbl>
          </a:graphicData>
        </a:graphic>
      </p:graphicFrame>
      <p:cxnSp>
        <p:nvCxnSpPr>
          <p:cNvPr id="15" name="Straight Arrow Connector 14"/>
          <p:cNvCxnSpPr/>
          <p:nvPr/>
        </p:nvCxnSpPr>
        <p:spPr>
          <a:xfrm>
            <a:off x="4309120" y="6550496"/>
            <a:ext cx="864096" cy="72008"/>
          </a:xfrm>
          <a:prstGeom prst="straightConnector1">
            <a:avLst/>
          </a:prstGeom>
          <a:ln>
            <a:solidFill>
              <a:srgbClr val="C00000"/>
            </a:solidFill>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26877739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3.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A5F1BF2-AA92-4AFA-9A50-FDFA784001C2}" vid="{C6170359-6A16-431B-810F-434F82B36BF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Presentation_Timesaver_Template_2014</Template>
  <TotalTime>3353</TotalTime>
  <Words>1519</Words>
  <Application>Microsoft Office PowerPoint</Application>
  <PresentationFormat>Niestandardowy</PresentationFormat>
  <Paragraphs>182</Paragraphs>
  <Slides>12</Slides>
  <Notes>1</Notes>
  <HiddenSlides>0</HiddenSlides>
  <MMClips>0</MMClips>
  <ScaleCrop>false</ScaleCrop>
  <HeadingPairs>
    <vt:vector size="8" baseType="variant">
      <vt:variant>
        <vt:lpstr>Używane czcionki</vt:lpstr>
      </vt:variant>
      <vt:variant>
        <vt:i4>6</vt:i4>
      </vt:variant>
      <vt:variant>
        <vt:lpstr>Motyw</vt:lpstr>
      </vt:variant>
      <vt:variant>
        <vt:i4>3</vt:i4>
      </vt:variant>
      <vt:variant>
        <vt:lpstr>Osadzone serwery OLE</vt:lpstr>
      </vt:variant>
      <vt:variant>
        <vt:i4>1</vt:i4>
      </vt:variant>
      <vt:variant>
        <vt:lpstr>Tytuły slajdów</vt:lpstr>
      </vt:variant>
      <vt:variant>
        <vt:i4>12</vt:i4>
      </vt:variant>
    </vt:vector>
  </HeadingPairs>
  <TitlesOfParts>
    <vt:vector size="22" baseType="lpstr">
      <vt:lpstr>Arial</vt:lpstr>
      <vt:lpstr>Calibri</vt:lpstr>
      <vt:lpstr>Open Sans</vt:lpstr>
      <vt:lpstr>Times New Roman</vt:lpstr>
      <vt:lpstr>Verdana</vt:lpstr>
      <vt:lpstr>Wingdings</vt:lpstr>
      <vt:lpstr>Deloitte Presentation Template 100114 (The Partners final version)</vt:lpstr>
      <vt:lpstr>Blank</vt:lpstr>
      <vt:lpstr>Deloitte 16_9 onscreen</vt:lpstr>
      <vt:lpstr>think-cell Slide</vt:lpstr>
      <vt:lpstr>Prezentacja programu PowerPoint</vt:lpstr>
      <vt:lpstr>II FSK 2260/14 Stan faktyczny</vt:lpstr>
      <vt:lpstr>II FSK 2260/14 Stan faktyczny</vt:lpstr>
      <vt:lpstr>II FSK 2260/14 Pytanie podatnika</vt:lpstr>
      <vt:lpstr>II FSK 2260/14 Stan prawny</vt:lpstr>
      <vt:lpstr>II FSK 2260/14 Rozstrzygnięcie NSA</vt:lpstr>
      <vt:lpstr>Sprzedaż spółki kapitałowej powstałej z przekształcenia spółki osobowej – koszty uzyskania przychodów Stanowisko odmienne</vt:lpstr>
      <vt:lpstr>Sprzedaż spółki kapitałowej powstałej z przekształcenia spółki osobowej – koszty uzyskania przychodów Wybrane stanowiska w podobnych sprawach</vt:lpstr>
      <vt:lpstr>Wykładnia gospodarcza art. 22 i 23 ust. 1 pkt 38 ustawy o PDOF Przykłady praktyczne z perspektywy adekwatności obciążenia podatkowego </vt:lpstr>
      <vt:lpstr>Wykładnia gospodarcza art. 22 i 23 ust. 1 pkt 38 ustawy o PDOF Przykłady praktyczne z perspektywy adekwatności obciążenia podatkowego </vt:lpstr>
      <vt:lpstr>Wykładnia gospodarcza art. 22 i 23 ust. 1 pkt 38 ustawy o PDOF Przykłady praktyczne z perspektywy adekwatności obciążenia podatkowego </vt:lpstr>
      <vt:lpstr>Prezentacja programu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Times New Roman 36pt</dc:title>
  <dc:creator>Jezierski, Kamil (PL - Katowice)</dc:creator>
  <cp:lastModifiedBy>Wojciech Morawski</cp:lastModifiedBy>
  <cp:revision>518</cp:revision>
  <cp:lastPrinted>2015-05-07T12:25:35Z</cp:lastPrinted>
  <dcterms:created xsi:type="dcterms:W3CDTF">2015-03-12T16:09:32Z</dcterms:created>
  <dcterms:modified xsi:type="dcterms:W3CDTF">2018-09-05T09:51:03Z</dcterms:modified>
</cp:coreProperties>
</file>